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66" r:id="rId5"/>
    <p:sldId id="2147483632" r:id="rId6"/>
    <p:sldId id="268" r:id="rId7"/>
    <p:sldId id="2147480887" r:id="rId8"/>
    <p:sldId id="2147480871" r:id="rId9"/>
    <p:sldId id="2147374652" r:id="rId10"/>
    <p:sldId id="2147375728" r:id="rId11"/>
    <p:sldId id="2147483643" r:id="rId12"/>
    <p:sldId id="2147483644" r:id="rId13"/>
    <p:sldId id="2147483620" r:id="rId14"/>
    <p:sldId id="2147480869" r:id="rId15"/>
    <p:sldId id="2147483645" r:id="rId16"/>
    <p:sldId id="467" r:id="rId17"/>
    <p:sldId id="453" r:id="rId18"/>
    <p:sldId id="475" r:id="rId19"/>
    <p:sldId id="476" r:id="rId20"/>
    <p:sldId id="2147483642" r:id="rId21"/>
    <p:sldId id="462" r:id="rId22"/>
    <p:sldId id="2147483633" r:id="rId23"/>
    <p:sldId id="2147483626" r:id="rId24"/>
    <p:sldId id="2147483646" r:id="rId25"/>
    <p:sldId id="2147483614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ERSION INFO" id="{EF7D0112-3A63-8D43-A9E7-72DDB0A08629}">
          <p14:sldIdLst/>
        </p14:section>
        <p14:section name="TITLE" id="{41DAF192-4D52-2742-9CFD-3E488BA2712D}">
          <p14:sldIdLst>
            <p14:sldId id="266"/>
            <p14:sldId id="2147483632"/>
            <p14:sldId id="268"/>
            <p14:sldId id="2147480887"/>
            <p14:sldId id="2147480871"/>
            <p14:sldId id="2147374652"/>
            <p14:sldId id="2147375728"/>
            <p14:sldId id="2147483643"/>
            <p14:sldId id="2147483644"/>
            <p14:sldId id="2147483620"/>
            <p14:sldId id="2147480869"/>
            <p14:sldId id="2147483645"/>
            <p14:sldId id="467"/>
            <p14:sldId id="453"/>
            <p14:sldId id="475"/>
            <p14:sldId id="476"/>
            <p14:sldId id="2147483642"/>
            <p14:sldId id="462"/>
            <p14:sldId id="2147483633"/>
            <p14:sldId id="2147483626"/>
            <p14:sldId id="2147483646"/>
            <p14:sldId id="2147483614"/>
          </p14:sldIdLst>
        </p14:section>
        <p14:section name="AGENDA" id="{0B6AFE60-E395-9140-8CE7-3AB441F11E85}">
          <p14:sldIdLst/>
        </p14:section>
        <p14:section name="SECTION DIVIDERS" id="{829F4148-BC58-574B-8D14-703351694518}">
          <p14:sldIdLst/>
        </p14:section>
        <p14:section name="TEXT" id="{627CCA7C-AC08-2347-895F-F3B8DB2C6C2B}">
          <p14:sldIdLst/>
        </p14:section>
        <p14:section name="IMAGE" id="{134130E7-E2E9-9242-8BCC-7ECD9881B939}">
          <p14:sldIdLst/>
        </p14:section>
        <p14:section name="TEAM" id="{D0DC94C0-FC6C-5F4F-8CDB-52E934B9319F}">
          <p14:sldIdLst/>
        </p14:section>
        <p14:section name="KEY MESSAGE" id="{A02D5469-7272-A24D-A2E5-72D5E3D9D920}">
          <p14:sldIdLst/>
        </p14:section>
        <p14:section name="CHARTS" id="{7824B6BF-8D0D-D745-BB13-BC53D486C91F}">
          <p14:sldIdLst/>
        </p14:section>
        <p14:section name="DIAGRAM" id="{4642AFD8-FE8C-414D-A713-855A31E677A6}">
          <p14:sldIdLst/>
        </p14:section>
        <p14:section name="END SLIDE" id="{3DE91125-FD29-B544-892D-A037DAD0D152}">
          <p14:sldIdLst/>
        </p14:section>
        <p14:section name="ICON LIBRARY" id="{DEFDA9D0-8C84-F144-98C8-275D6D39ED1F}">
          <p14:sldIdLst/>
        </p14:section>
        <p14:section name="FAQS" id="{560B3A9F-7FC8-D049-B05C-9D4CDC66AC6A}">
          <p14:sldIdLst/>
        </p14:section>
      </p14:sectionLst>
    </p:ext>
    <p:ext uri="{EFAFB233-063F-42B5-8137-9DF3F51BA10A}">
      <p15:sldGuideLst xmlns:p15="http://schemas.microsoft.com/office/powerpoint/2012/main">
        <p15:guide id="1" pos="347" userDrawn="1">
          <p15:clr>
            <a:srgbClr val="A4A3A4"/>
          </p15:clr>
        </p15:guide>
        <p15:guide id="2" pos="7344" userDrawn="1">
          <p15:clr>
            <a:srgbClr val="A4A3A4"/>
          </p15:clr>
        </p15:guide>
        <p15:guide id="3" orient="horz" pos="1152" userDrawn="1">
          <p15:clr>
            <a:srgbClr val="A4A3A4"/>
          </p15:clr>
        </p15:guide>
        <p15:guide id="4" orient="horz" pos="381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A3BF06-CDBC-8742-B55B-83D44389DAAA}" name="Schmelzer, Bernhard" initials="SB" userId="S::schmebe1@novartis.net::17c0b982-ae2f-4fba-86f5-74d2fe3e92d8" providerId="AD"/>
  <p188:author id="{963BA30A-662E-8E7C-3CD7-EF7344B3F2C5}" name="Faton Haziri" initials="FH" userId="Faton Haziri" providerId="None"/>
  <p188:author id="{8995BE1A-19C8-ED9E-0D37-DD2BA52708B5}" name="Eberhard, Maria" initials="EM" userId="S::eberhma1@novartis.net::b8fdfdfd-a31b-4de4-bd66-8ae68c5bf649" providerId="AD"/>
  <p188:author id="{F478C91A-DF77-D31F-3BB8-A7A9927471F5}" name="Stefani, Flavia" initials="FS" userId="S::STEFAFL2@novartis.net::b9c7bbbd-7934-4c59-93bd-594edc281934" providerId="AD"/>
  <p188:author id="{21D6CD1A-5081-336B-F537-A0DF7652A2B0}" name="Bury, Marie-Eve" initials="MB" userId="S::BURYMA2@novartis.net::3f6a74a6-cc43-4200-839d-d6d054ac4522" providerId="AD"/>
  <p188:author id="{68496430-E8D5-2EFF-13F1-290896A5B872}" name="Gricar Lokar, Maja" initials="GM" userId="S::gricama1@novartis.net::e0a8a2e4-a90b-4ea6-8212-a25ac4088f1f" providerId="AD"/>
  <p188:author id="{D8B5D934-15AA-A28C-BF8A-89D8D1018B78}" name="Bluemel, Markus" initials="MB" userId="S::BLUEMMA1@novartis.net::52fe87ab-f94d-4082-ac6f-dcaa0edb6779" providerId="AD"/>
  <p188:author id="{8CF11448-26DB-868D-4FF6-6E68F53215AF}" name="Piuzzi, Salome" initials="PS" userId="S::piuzzsa1@novartis.net::02d2d923-2ab1-447f-8f3a-229c27cd310a" providerId="AD"/>
  <p188:author id="{950D225B-0C67-FFA7-5578-1FABD05E7A07}" name="Parry, Marina" initials="MP" userId="S::PARRYMA2@novartis.net::55881bad-1710-4298-8a7a-63276c423569" providerId="AD"/>
  <p188:author id="{B378B269-8605-A754-3AC8-495F9C28E95C}" name="Branigan, Lila" initials="BL" userId="S::branili1@novartis.net::bad583dd-3f17-4eb2-8c56-30a183d315c6" providerId="AD"/>
  <p188:author id="{C19CAA70-B087-1D81-009D-0E0F6B06F1A6}" name="Hanke, Alexander" initials="HA" userId="S::hankeal1@novartis.net::1e0d285e-b8f4-4a12-a34f-2d52b07ecdb1" providerId="AD"/>
  <p188:author id="{AEEC0E85-5B77-9BD9-6D14-A24FE796CED8}" name="Kuzman, Drago" initials="DK" userId="S::KUZMADR1@novartis.net::f0e54a4a-ef23-4504-ad0b-735a5dc6daea" providerId="AD"/>
  <p188:author id="{62131F95-BE81-16CA-5DDB-7BAB24B4F87A}" name="Romanow, Angela" initials="RA" userId="S::romananh@novartis.net::d09aaa3a-26ce-4690-b058-684d3a8735e7" providerId="AD"/>
  <p188:author id="{27F403B1-BC1A-AE93-5AE1-203CAF3338D9}" name="Haziri, Faton" initials="HF" userId="S::hazirfa1@novartis.net::3052f43f-8ee3-4d23-aecc-818d51f5917c" providerId="AD"/>
  <p188:author id="{F8D0A5C0-0697-8841-0951-71DAB53C9A77}" name="Kuzman, Drago" initials="KD" userId="S::kuzmadr1@novartis.net::f0e54a4a-ef23-4504-ad0b-735a5dc6daea" providerId="AD"/>
  <p188:author id="{C90570C3-F37F-E33B-F327-92790E1EE15C}" name="Umek, Sabine" initials="US" userId="S::umeksa1@novartis.net::35d27faa-8d38-4b2d-808c-aff749007a85" providerId="AD"/>
  <p188:author id="{B4D10BC8-25A2-6754-FE62-CB765FFF16B7}" name="Schuetz, Sabine Ulrike" initials="SS" userId="S::SCHUESA5@novartis.net::6119ad33-420b-4621-baeb-cb41e9031e11" providerId="AD"/>
  <p188:author id="{9D099CEE-101A-7E26-B0BA-40A68F97A773}" name="Davis-McHenry, Aliah" initials="DA" userId="S::davisale@novartis.net::34a4c28c-d9d9-4fbd-bbf6-8bf1f7f3c88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78B93"/>
    <a:srgbClr val="8CD2D7"/>
    <a:srgbClr val="80AF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FCB9F1-9D8D-4176-B94F-7F171371EFAB}" v="15" dt="2026-05-12T06:56:12.75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3503" autoAdjust="0"/>
  </p:normalViewPr>
  <p:slideViewPr>
    <p:cSldViewPr snapToGrid="0">
      <p:cViewPr varScale="1">
        <p:scale>
          <a:sx n="68" d="100"/>
          <a:sy n="68" d="100"/>
        </p:scale>
        <p:origin x="1162" y="278"/>
      </p:cViewPr>
      <p:guideLst>
        <p:guide pos="347"/>
        <p:guide pos="7344"/>
        <p:guide orient="horz" pos="1152"/>
        <p:guide orient="horz" pos="38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zman, Drago" userId="f0e54a4a-ef23-4504-ad0b-735a5dc6daea" providerId="ADAL" clId="{84A6FBFF-BA24-47B7-BD30-284AD6ECCBE0}"/>
    <pc:docChg chg="undo custSel addSld delSld modSld sldOrd modSection">
      <pc:chgData name="Kuzman, Drago" userId="f0e54a4a-ef23-4504-ad0b-735a5dc6daea" providerId="ADAL" clId="{84A6FBFF-BA24-47B7-BD30-284AD6ECCBE0}" dt="2026-05-12T13:37:47.114" v="5116" actId="20577"/>
      <pc:docMkLst>
        <pc:docMk/>
      </pc:docMkLst>
      <pc:sldChg chg="del ord">
        <pc:chgData name="Kuzman, Drago" userId="f0e54a4a-ef23-4504-ad0b-735a5dc6daea" providerId="ADAL" clId="{84A6FBFF-BA24-47B7-BD30-284AD6ECCBE0}" dt="2026-05-11T06:02:34.695" v="3282" actId="47"/>
        <pc:sldMkLst>
          <pc:docMk/>
          <pc:sldMk cId="120881751" sldId="260"/>
        </pc:sldMkLst>
      </pc:sldChg>
      <pc:sldChg chg="modSp mod">
        <pc:chgData name="Kuzman, Drago" userId="f0e54a4a-ef23-4504-ad0b-735a5dc6daea" providerId="ADAL" clId="{84A6FBFF-BA24-47B7-BD30-284AD6ECCBE0}" dt="2026-05-12T13:37:47.114" v="5116" actId="20577"/>
        <pc:sldMkLst>
          <pc:docMk/>
          <pc:sldMk cId="1238475193" sldId="266"/>
        </pc:sldMkLst>
        <pc:spChg chg="mod">
          <ac:chgData name="Kuzman, Drago" userId="f0e54a4a-ef23-4504-ad0b-735a5dc6daea" providerId="ADAL" clId="{84A6FBFF-BA24-47B7-BD30-284AD6ECCBE0}" dt="2026-05-12T13:37:47.114" v="5116" actId="20577"/>
          <ac:spMkLst>
            <pc:docMk/>
            <pc:sldMk cId="1238475193" sldId="266"/>
            <ac:spMk id="8" creationId="{FBA7C722-B78F-E562-4EAE-6A26179F6E88}"/>
          </ac:spMkLst>
        </pc:spChg>
      </pc:sldChg>
      <pc:sldChg chg="modSp add del mod">
        <pc:chgData name="Kuzman, Drago" userId="f0e54a4a-ef23-4504-ad0b-735a5dc6daea" providerId="ADAL" clId="{84A6FBFF-BA24-47B7-BD30-284AD6ECCBE0}" dt="2026-05-12T13:37:28.207" v="5115" actId="20577"/>
        <pc:sldMkLst>
          <pc:docMk/>
          <pc:sldMk cId="2359333930" sldId="268"/>
        </pc:sldMkLst>
        <pc:spChg chg="mod">
          <ac:chgData name="Kuzman, Drago" userId="f0e54a4a-ef23-4504-ad0b-735a5dc6daea" providerId="ADAL" clId="{84A6FBFF-BA24-47B7-BD30-284AD6ECCBE0}" dt="2026-05-12T13:37:28.207" v="5115" actId="20577"/>
          <ac:spMkLst>
            <pc:docMk/>
            <pc:sldMk cId="2359333930" sldId="268"/>
            <ac:spMk id="2" creationId="{655D07D1-71AE-98D0-E397-1F6494C10EEE}"/>
          </ac:spMkLst>
        </pc:spChg>
        <pc:graphicFrameChg chg="modGraphic">
          <ac:chgData name="Kuzman, Drago" userId="f0e54a4a-ef23-4504-ad0b-735a5dc6daea" providerId="ADAL" clId="{84A6FBFF-BA24-47B7-BD30-284AD6ECCBE0}" dt="2026-05-12T06:41:02.168" v="4380" actId="20577"/>
          <ac:graphicFrameMkLst>
            <pc:docMk/>
            <pc:sldMk cId="2359333930" sldId="268"/>
            <ac:graphicFrameMk id="3" creationId="{08F84C6F-6CF0-80DD-79C5-91AAE6BCB15E}"/>
          </ac:graphicFrameMkLst>
        </pc:graphicFrameChg>
        <pc:graphicFrameChg chg="modGraphic">
          <ac:chgData name="Kuzman, Drago" userId="f0e54a4a-ef23-4504-ad0b-735a5dc6daea" providerId="ADAL" clId="{84A6FBFF-BA24-47B7-BD30-284AD6ECCBE0}" dt="2026-05-12T06:38:29.576" v="4312" actId="113"/>
          <ac:graphicFrameMkLst>
            <pc:docMk/>
            <pc:sldMk cId="2359333930" sldId="268"/>
            <ac:graphicFrameMk id="4" creationId="{8F94240C-0AE3-1A29-49BB-CD8E6684B18F}"/>
          </ac:graphicFrameMkLst>
        </pc:graphicFrameChg>
      </pc:sldChg>
      <pc:sldChg chg="addSp delSp modSp mod">
        <pc:chgData name="Kuzman, Drago" userId="f0e54a4a-ef23-4504-ad0b-735a5dc6daea" providerId="ADAL" clId="{84A6FBFF-BA24-47B7-BD30-284AD6ECCBE0}" dt="2026-05-10T09:25:34.269" v="2295" actId="478"/>
        <pc:sldMkLst>
          <pc:docMk/>
          <pc:sldMk cId="2431973663" sldId="453"/>
        </pc:sldMkLst>
        <pc:spChg chg="mod">
          <ac:chgData name="Kuzman, Drago" userId="f0e54a4a-ef23-4504-ad0b-735a5dc6daea" providerId="ADAL" clId="{84A6FBFF-BA24-47B7-BD30-284AD6ECCBE0}" dt="2026-05-10T09:17:37.369" v="2238" actId="207"/>
          <ac:spMkLst>
            <pc:docMk/>
            <pc:sldMk cId="2431973663" sldId="453"/>
            <ac:spMk id="6" creationId="{4F8F368F-C509-1CF0-310A-09EA65F7BC50}"/>
          </ac:spMkLst>
        </pc:spChg>
        <pc:spChg chg="add mod">
          <ac:chgData name="Kuzman, Drago" userId="f0e54a4a-ef23-4504-ad0b-735a5dc6daea" providerId="ADAL" clId="{84A6FBFF-BA24-47B7-BD30-284AD6ECCBE0}" dt="2026-05-10T09:25:30.808" v="2294"/>
          <ac:spMkLst>
            <pc:docMk/>
            <pc:sldMk cId="2431973663" sldId="453"/>
            <ac:spMk id="7" creationId="{EAB6ABBE-EE01-C9A5-1778-EB970FB3BF72}"/>
          </ac:spMkLst>
        </pc:spChg>
        <pc:picChg chg="add mod">
          <ac:chgData name="Kuzman, Drago" userId="f0e54a4a-ef23-4504-ad0b-735a5dc6daea" providerId="ADAL" clId="{84A6FBFF-BA24-47B7-BD30-284AD6ECCBE0}" dt="2026-05-10T09:25:30.808" v="2294"/>
          <ac:picMkLst>
            <pc:docMk/>
            <pc:sldMk cId="2431973663" sldId="453"/>
            <ac:picMk id="14" creationId="{5411B23D-D638-8DC7-D248-D1E0EE7DD7FA}"/>
          </ac:picMkLst>
        </pc:picChg>
      </pc:sldChg>
      <pc:sldChg chg="ord">
        <pc:chgData name="Kuzman, Drago" userId="f0e54a4a-ef23-4504-ad0b-735a5dc6daea" providerId="ADAL" clId="{84A6FBFF-BA24-47B7-BD30-284AD6ECCBE0}" dt="2026-05-11T06:02:08.328" v="3280"/>
        <pc:sldMkLst>
          <pc:docMk/>
          <pc:sldMk cId="2719373728" sldId="462"/>
        </pc:sldMkLst>
      </pc:sldChg>
      <pc:sldChg chg="modSp mod ord">
        <pc:chgData name="Kuzman, Drago" userId="f0e54a4a-ef23-4504-ad0b-735a5dc6daea" providerId="ADAL" clId="{84A6FBFF-BA24-47B7-BD30-284AD6ECCBE0}" dt="2026-05-11T17:01:10.225" v="3773" actId="1076"/>
        <pc:sldMkLst>
          <pc:docMk/>
          <pc:sldMk cId="1165615435" sldId="467"/>
        </pc:sldMkLst>
        <pc:spChg chg="mod">
          <ac:chgData name="Kuzman, Drago" userId="f0e54a4a-ef23-4504-ad0b-735a5dc6daea" providerId="ADAL" clId="{84A6FBFF-BA24-47B7-BD30-284AD6ECCBE0}" dt="2026-05-10T09:17:11.305" v="2227" actId="20577"/>
          <ac:spMkLst>
            <pc:docMk/>
            <pc:sldMk cId="1165615435" sldId="467"/>
            <ac:spMk id="2" creationId="{C208CDE3-2802-D1B8-F15F-A86C158D0C54}"/>
          </ac:spMkLst>
        </pc:spChg>
        <pc:spChg chg="mod">
          <ac:chgData name="Kuzman, Drago" userId="f0e54a4a-ef23-4504-ad0b-735a5dc6daea" providerId="ADAL" clId="{84A6FBFF-BA24-47B7-BD30-284AD6ECCBE0}" dt="2026-05-11T17:01:01.092" v="3772" actId="1076"/>
          <ac:spMkLst>
            <pc:docMk/>
            <pc:sldMk cId="1165615435" sldId="467"/>
            <ac:spMk id="11" creationId="{37743E0E-26D0-24C4-40DD-72BBB3937644}"/>
          </ac:spMkLst>
        </pc:spChg>
        <pc:picChg chg="mod">
          <ac:chgData name="Kuzman, Drago" userId="f0e54a4a-ef23-4504-ad0b-735a5dc6daea" providerId="ADAL" clId="{84A6FBFF-BA24-47B7-BD30-284AD6ECCBE0}" dt="2026-05-11T17:01:10.225" v="3773" actId="1076"/>
          <ac:picMkLst>
            <pc:docMk/>
            <pc:sldMk cId="1165615435" sldId="467"/>
            <ac:picMk id="7" creationId="{450F5ABB-594E-3FDE-EBA5-8EE3AD2A914B}"/>
          </ac:picMkLst>
        </pc:picChg>
      </pc:sldChg>
      <pc:sldChg chg="addSp delSp modSp mod">
        <pc:chgData name="Kuzman, Drago" userId="f0e54a4a-ef23-4504-ad0b-735a5dc6daea" providerId="ADAL" clId="{84A6FBFF-BA24-47B7-BD30-284AD6ECCBE0}" dt="2026-05-10T09:25:24.852" v="2292"/>
        <pc:sldMkLst>
          <pc:docMk/>
          <pc:sldMk cId="2203253333" sldId="475"/>
        </pc:sldMkLst>
        <pc:spChg chg="mod">
          <ac:chgData name="Kuzman, Drago" userId="f0e54a4a-ef23-4504-ad0b-735a5dc6daea" providerId="ADAL" clId="{84A6FBFF-BA24-47B7-BD30-284AD6ECCBE0}" dt="2026-05-10T09:18:34.314" v="2239"/>
          <ac:spMkLst>
            <pc:docMk/>
            <pc:sldMk cId="2203253333" sldId="475"/>
            <ac:spMk id="6" creationId="{4F8F368F-C509-1CF0-310A-09EA65F7BC50}"/>
          </ac:spMkLst>
        </pc:spChg>
        <pc:spChg chg="add mod">
          <ac:chgData name="Kuzman, Drago" userId="f0e54a4a-ef23-4504-ad0b-735a5dc6daea" providerId="ADAL" clId="{84A6FBFF-BA24-47B7-BD30-284AD6ECCBE0}" dt="2026-05-10T09:25:24.852" v="2292"/>
          <ac:spMkLst>
            <pc:docMk/>
            <pc:sldMk cId="2203253333" sldId="475"/>
            <ac:spMk id="14" creationId="{B7098864-5351-BCD3-165A-2A7A9D76A67F}"/>
          </ac:spMkLst>
        </pc:spChg>
        <pc:spChg chg="add mod">
          <ac:chgData name="Kuzman, Drago" userId="f0e54a4a-ef23-4504-ad0b-735a5dc6daea" providerId="ADAL" clId="{84A6FBFF-BA24-47B7-BD30-284AD6ECCBE0}" dt="2026-05-10T09:25:24.852" v="2292"/>
          <ac:spMkLst>
            <pc:docMk/>
            <pc:sldMk cId="2203253333" sldId="475"/>
            <ac:spMk id="16" creationId="{1255893D-EB07-D48F-8104-539D2B29B840}"/>
          </ac:spMkLst>
        </pc:spChg>
        <pc:picChg chg="add mod">
          <ac:chgData name="Kuzman, Drago" userId="f0e54a4a-ef23-4504-ad0b-735a5dc6daea" providerId="ADAL" clId="{84A6FBFF-BA24-47B7-BD30-284AD6ECCBE0}" dt="2026-05-10T09:25:24.852" v="2292"/>
          <ac:picMkLst>
            <pc:docMk/>
            <pc:sldMk cId="2203253333" sldId="475"/>
            <ac:picMk id="17" creationId="{8306A000-DE32-491C-6A75-319BDC24A63D}"/>
          </ac:picMkLst>
        </pc:picChg>
        <pc:picChg chg="add mod">
          <ac:chgData name="Kuzman, Drago" userId="f0e54a4a-ef23-4504-ad0b-735a5dc6daea" providerId="ADAL" clId="{84A6FBFF-BA24-47B7-BD30-284AD6ECCBE0}" dt="2026-05-10T09:25:24.852" v="2292"/>
          <ac:picMkLst>
            <pc:docMk/>
            <pc:sldMk cId="2203253333" sldId="475"/>
            <ac:picMk id="18" creationId="{8579170A-7EA9-4AAD-79AC-2956486F3A17}"/>
          </ac:picMkLst>
        </pc:picChg>
      </pc:sldChg>
      <pc:sldChg chg="addSp delSp modSp mod">
        <pc:chgData name="Kuzman, Drago" userId="f0e54a4a-ef23-4504-ad0b-735a5dc6daea" providerId="ADAL" clId="{84A6FBFF-BA24-47B7-BD30-284AD6ECCBE0}" dt="2026-05-11T16:44:58.606" v="3505"/>
        <pc:sldMkLst>
          <pc:docMk/>
          <pc:sldMk cId="3767808426" sldId="476"/>
        </pc:sldMkLst>
        <pc:spChg chg="add mod">
          <ac:chgData name="Kuzman, Drago" userId="f0e54a4a-ef23-4504-ad0b-735a5dc6daea" providerId="ADAL" clId="{84A6FBFF-BA24-47B7-BD30-284AD6ECCBE0}" dt="2026-05-10T09:20:50.659" v="2268"/>
          <ac:spMkLst>
            <pc:docMk/>
            <pc:sldMk cId="3767808426" sldId="476"/>
            <ac:spMk id="5" creationId="{7B66CA70-27AB-7159-BF91-52DEFEB997D9}"/>
          </ac:spMkLst>
        </pc:spChg>
        <pc:spChg chg="mod">
          <ac:chgData name="Kuzman, Drago" userId="f0e54a4a-ef23-4504-ad0b-735a5dc6daea" providerId="ADAL" clId="{84A6FBFF-BA24-47B7-BD30-284AD6ECCBE0}" dt="2026-05-11T16:44:58.606" v="3505"/>
          <ac:spMkLst>
            <pc:docMk/>
            <pc:sldMk cId="3767808426" sldId="476"/>
            <ac:spMk id="6" creationId="{4F8F368F-C509-1CF0-310A-09EA65F7BC50}"/>
          </ac:spMkLst>
        </pc:spChg>
        <pc:spChg chg="add mod">
          <ac:chgData name="Kuzman, Drago" userId="f0e54a4a-ef23-4504-ad0b-735a5dc6daea" providerId="ADAL" clId="{84A6FBFF-BA24-47B7-BD30-284AD6ECCBE0}" dt="2026-05-10T09:25:09.752" v="2287" actId="1076"/>
          <ac:spMkLst>
            <pc:docMk/>
            <pc:sldMk cId="3767808426" sldId="476"/>
            <ac:spMk id="11" creationId="{D47C5B47-600A-869B-0E3E-680F6AFB1781}"/>
          </ac:spMkLst>
        </pc:spChg>
        <pc:picChg chg="add mod">
          <ac:chgData name="Kuzman, Drago" userId="f0e54a4a-ef23-4504-ad0b-735a5dc6daea" providerId="ADAL" clId="{84A6FBFF-BA24-47B7-BD30-284AD6ECCBE0}" dt="2026-05-10T09:23:10.283" v="2276" actId="1076"/>
          <ac:picMkLst>
            <pc:docMk/>
            <pc:sldMk cId="3767808426" sldId="476"/>
            <ac:picMk id="17" creationId="{A41330A7-5B47-6537-09DC-55EB4072C40C}"/>
          </ac:picMkLst>
        </pc:picChg>
        <pc:picChg chg="add mod">
          <ac:chgData name="Kuzman, Drago" userId="f0e54a4a-ef23-4504-ad0b-735a5dc6daea" providerId="ADAL" clId="{84A6FBFF-BA24-47B7-BD30-284AD6ECCBE0}" dt="2026-05-10T09:25:04.987" v="2286" actId="1076"/>
          <ac:picMkLst>
            <pc:docMk/>
            <pc:sldMk cId="3767808426" sldId="476"/>
            <ac:picMk id="22" creationId="{42B74897-85E8-C1BD-1AA0-B06A9692DEDA}"/>
          </ac:picMkLst>
        </pc:picChg>
        <pc:picChg chg="add mod">
          <ac:chgData name="Kuzman, Drago" userId="f0e54a4a-ef23-4504-ad0b-735a5dc6daea" providerId="ADAL" clId="{84A6FBFF-BA24-47B7-BD30-284AD6ECCBE0}" dt="2026-05-10T09:24:45.735" v="2284" actId="1076"/>
          <ac:picMkLst>
            <pc:docMk/>
            <pc:sldMk cId="3767808426" sldId="476"/>
            <ac:picMk id="24" creationId="{F3550A95-1581-1C96-A677-5792597B1036}"/>
          </ac:picMkLst>
        </pc:picChg>
      </pc:sldChg>
      <pc:sldChg chg="addSp modSp mod ord">
        <pc:chgData name="Kuzman, Drago" userId="f0e54a4a-ef23-4504-ad0b-735a5dc6daea" providerId="ADAL" clId="{84A6FBFF-BA24-47B7-BD30-284AD6ECCBE0}" dt="2026-05-12T06:46:38.590" v="4636" actId="1582"/>
        <pc:sldMkLst>
          <pc:docMk/>
          <pc:sldMk cId="2203512830" sldId="2147374652"/>
        </pc:sldMkLst>
        <pc:spChg chg="add mod">
          <ac:chgData name="Kuzman, Drago" userId="f0e54a4a-ef23-4504-ad0b-735a5dc6daea" providerId="ADAL" clId="{84A6FBFF-BA24-47B7-BD30-284AD6ECCBE0}" dt="2026-05-10T07:31:40.214" v="524" actId="1076"/>
          <ac:spMkLst>
            <pc:docMk/>
            <pc:sldMk cId="2203512830" sldId="2147374652"/>
            <ac:spMk id="6" creationId="{B761D475-DBB9-4F5A-C069-510419702FFB}"/>
          </ac:spMkLst>
        </pc:spChg>
        <pc:spChg chg="add mod">
          <ac:chgData name="Kuzman, Drago" userId="f0e54a4a-ef23-4504-ad0b-735a5dc6daea" providerId="ADAL" clId="{84A6FBFF-BA24-47B7-BD30-284AD6ECCBE0}" dt="2026-05-12T06:46:38.590" v="4636" actId="1582"/>
          <ac:spMkLst>
            <pc:docMk/>
            <pc:sldMk cId="2203512830" sldId="2147374652"/>
            <ac:spMk id="7" creationId="{6AFAFAF2-B729-083E-111A-7EA8266B856C}"/>
          </ac:spMkLst>
        </pc:spChg>
      </pc:sldChg>
      <pc:sldChg chg="addSp delSp modSp mod ord">
        <pc:chgData name="Kuzman, Drago" userId="f0e54a4a-ef23-4504-ad0b-735a5dc6daea" providerId="ADAL" clId="{84A6FBFF-BA24-47B7-BD30-284AD6ECCBE0}" dt="2026-05-11T16:21:09.154" v="3286" actId="20577"/>
        <pc:sldMkLst>
          <pc:docMk/>
          <pc:sldMk cId="308736926" sldId="2147375728"/>
        </pc:sldMkLst>
        <pc:spChg chg="mod">
          <ac:chgData name="Kuzman, Drago" userId="f0e54a4a-ef23-4504-ad0b-735a5dc6daea" providerId="ADAL" clId="{84A6FBFF-BA24-47B7-BD30-284AD6ECCBE0}" dt="2026-05-10T07:52:22.490" v="721" actId="20577"/>
          <ac:spMkLst>
            <pc:docMk/>
            <pc:sldMk cId="308736926" sldId="2147375728"/>
            <ac:spMk id="2" creationId="{4699FFEC-CB50-EBBA-790D-0FC5F910F2B7}"/>
          </ac:spMkLst>
        </pc:spChg>
        <pc:spChg chg="mod">
          <ac:chgData name="Kuzman, Drago" userId="f0e54a4a-ef23-4504-ad0b-735a5dc6daea" providerId="ADAL" clId="{84A6FBFF-BA24-47B7-BD30-284AD6ECCBE0}" dt="2026-05-10T07:33:53.186" v="552" actId="1076"/>
          <ac:spMkLst>
            <pc:docMk/>
            <pc:sldMk cId="308736926" sldId="2147375728"/>
            <ac:spMk id="3" creationId="{2881AB15-C180-9FF9-ABFE-BF5273A99094}"/>
          </ac:spMkLst>
        </pc:spChg>
        <pc:spChg chg="mod">
          <ac:chgData name="Kuzman, Drago" userId="f0e54a4a-ef23-4504-ad0b-735a5dc6daea" providerId="ADAL" clId="{84A6FBFF-BA24-47B7-BD30-284AD6ECCBE0}" dt="2026-05-10T07:33:53.186" v="552" actId="1076"/>
          <ac:spMkLst>
            <pc:docMk/>
            <pc:sldMk cId="308736926" sldId="2147375728"/>
            <ac:spMk id="5" creationId="{7AEC53F2-0791-7975-CE79-84E1E5747BB6}"/>
          </ac:spMkLst>
        </pc:spChg>
        <pc:spChg chg="mod">
          <ac:chgData name="Kuzman, Drago" userId="f0e54a4a-ef23-4504-ad0b-735a5dc6daea" providerId="ADAL" clId="{84A6FBFF-BA24-47B7-BD30-284AD6ECCBE0}" dt="2026-05-10T07:33:53.186" v="552" actId="1076"/>
          <ac:spMkLst>
            <pc:docMk/>
            <pc:sldMk cId="308736926" sldId="2147375728"/>
            <ac:spMk id="8" creationId="{1ECD023F-7C0D-FB0C-5CCE-12EEBDC17973}"/>
          </ac:spMkLst>
        </pc:spChg>
        <pc:spChg chg="mod">
          <ac:chgData name="Kuzman, Drago" userId="f0e54a4a-ef23-4504-ad0b-735a5dc6daea" providerId="ADAL" clId="{84A6FBFF-BA24-47B7-BD30-284AD6ECCBE0}" dt="2026-05-10T07:33:53.186" v="552" actId="1076"/>
          <ac:spMkLst>
            <pc:docMk/>
            <pc:sldMk cId="308736926" sldId="2147375728"/>
            <ac:spMk id="9" creationId="{17815A61-B7D8-42D5-F9FD-9D01C3C08968}"/>
          </ac:spMkLst>
        </pc:spChg>
        <pc:spChg chg="mod">
          <ac:chgData name="Kuzman, Drago" userId="f0e54a4a-ef23-4504-ad0b-735a5dc6daea" providerId="ADAL" clId="{84A6FBFF-BA24-47B7-BD30-284AD6ECCBE0}" dt="2026-05-10T07:33:53.186" v="552" actId="1076"/>
          <ac:spMkLst>
            <pc:docMk/>
            <pc:sldMk cId="308736926" sldId="2147375728"/>
            <ac:spMk id="10" creationId="{F595F1B6-B34B-36ED-AF21-AA2EA718374E}"/>
          </ac:spMkLst>
        </pc:spChg>
        <pc:spChg chg="mod">
          <ac:chgData name="Kuzman, Drago" userId="f0e54a4a-ef23-4504-ad0b-735a5dc6daea" providerId="ADAL" clId="{84A6FBFF-BA24-47B7-BD30-284AD6ECCBE0}" dt="2026-05-11T16:21:09.154" v="3286" actId="20577"/>
          <ac:spMkLst>
            <pc:docMk/>
            <pc:sldMk cId="308736926" sldId="2147375728"/>
            <ac:spMk id="16" creationId="{5FE2F174-5B3E-D714-B82A-317FAC43995E}"/>
          </ac:spMkLst>
        </pc:spChg>
        <pc:picChg chg="mod">
          <ac:chgData name="Kuzman, Drago" userId="f0e54a4a-ef23-4504-ad0b-735a5dc6daea" providerId="ADAL" clId="{84A6FBFF-BA24-47B7-BD30-284AD6ECCBE0}" dt="2026-05-10T07:33:53.186" v="552" actId="1076"/>
          <ac:picMkLst>
            <pc:docMk/>
            <pc:sldMk cId="308736926" sldId="2147375728"/>
            <ac:picMk id="6" creationId="{26B09893-D178-1323-69BD-634030FE1609}"/>
          </ac:picMkLst>
        </pc:picChg>
        <pc:picChg chg="mod">
          <ac:chgData name="Kuzman, Drago" userId="f0e54a4a-ef23-4504-ad0b-735a5dc6daea" providerId="ADAL" clId="{84A6FBFF-BA24-47B7-BD30-284AD6ECCBE0}" dt="2026-05-10T07:33:53.186" v="552" actId="1076"/>
          <ac:picMkLst>
            <pc:docMk/>
            <pc:sldMk cId="308736926" sldId="2147375728"/>
            <ac:picMk id="7" creationId="{F1D63AF0-F43D-3609-8B60-572FC373E902}"/>
          </ac:picMkLst>
        </pc:picChg>
      </pc:sldChg>
      <pc:sldChg chg="del ord">
        <pc:chgData name="Kuzman, Drago" userId="f0e54a4a-ef23-4504-ad0b-735a5dc6daea" providerId="ADAL" clId="{84A6FBFF-BA24-47B7-BD30-284AD6ECCBE0}" dt="2026-05-11T06:02:34.695" v="3282" actId="47"/>
        <pc:sldMkLst>
          <pc:docMk/>
          <pc:sldMk cId="2285194266" sldId="2147375743"/>
        </pc:sldMkLst>
      </pc:sldChg>
      <pc:sldChg chg="del ord">
        <pc:chgData name="Kuzman, Drago" userId="f0e54a4a-ef23-4504-ad0b-735a5dc6daea" providerId="ADAL" clId="{84A6FBFF-BA24-47B7-BD30-284AD6ECCBE0}" dt="2026-05-11T06:02:30.728" v="3281" actId="47"/>
        <pc:sldMkLst>
          <pc:docMk/>
          <pc:sldMk cId="145264347" sldId="2147480866"/>
        </pc:sldMkLst>
      </pc:sldChg>
      <pc:sldChg chg="del ord">
        <pc:chgData name="Kuzman, Drago" userId="f0e54a4a-ef23-4504-ad0b-735a5dc6daea" providerId="ADAL" clId="{84A6FBFF-BA24-47B7-BD30-284AD6ECCBE0}" dt="2026-05-11T06:02:34.695" v="3282" actId="47"/>
        <pc:sldMkLst>
          <pc:docMk/>
          <pc:sldMk cId="800610465" sldId="2147480868"/>
        </pc:sldMkLst>
      </pc:sldChg>
      <pc:sldChg chg="addSp delSp modSp mod ord">
        <pc:chgData name="Kuzman, Drago" userId="f0e54a4a-ef23-4504-ad0b-735a5dc6daea" providerId="ADAL" clId="{84A6FBFF-BA24-47B7-BD30-284AD6ECCBE0}" dt="2026-05-11T17:05:11.882" v="3865" actId="20577"/>
        <pc:sldMkLst>
          <pc:docMk/>
          <pc:sldMk cId="1947913144" sldId="2147480869"/>
        </pc:sldMkLst>
        <pc:spChg chg="mod">
          <ac:chgData name="Kuzman, Drago" userId="f0e54a4a-ef23-4504-ad0b-735a5dc6daea" providerId="ADAL" clId="{84A6FBFF-BA24-47B7-BD30-284AD6ECCBE0}" dt="2026-05-11T17:05:11.882" v="3865" actId="20577"/>
          <ac:spMkLst>
            <pc:docMk/>
            <pc:sldMk cId="1947913144" sldId="2147480869"/>
            <ac:spMk id="2" creationId="{5294B26E-5B38-BF13-A2DE-53E1FFF33EE2}"/>
          </ac:spMkLst>
        </pc:spChg>
        <pc:spChg chg="add mod">
          <ac:chgData name="Kuzman, Drago" userId="f0e54a4a-ef23-4504-ad0b-735a5dc6daea" providerId="ADAL" clId="{84A6FBFF-BA24-47B7-BD30-284AD6ECCBE0}" dt="2026-05-11T16:55:34.626" v="3711" actId="1076"/>
          <ac:spMkLst>
            <pc:docMk/>
            <pc:sldMk cId="1947913144" sldId="2147480869"/>
            <ac:spMk id="3" creationId="{18A33029-B926-7DFE-B408-A2698DA635D9}"/>
          </ac:spMkLst>
        </pc:spChg>
        <pc:spChg chg="add mod">
          <ac:chgData name="Kuzman, Drago" userId="f0e54a4a-ef23-4504-ad0b-735a5dc6daea" providerId="ADAL" clId="{84A6FBFF-BA24-47B7-BD30-284AD6ECCBE0}" dt="2026-05-11T16:56:14.891" v="3722" actId="14100"/>
          <ac:spMkLst>
            <pc:docMk/>
            <pc:sldMk cId="1947913144" sldId="2147480869"/>
            <ac:spMk id="5" creationId="{3D5C1D06-FA3D-5751-C2CC-934FF22225EF}"/>
          </ac:spMkLst>
        </pc:spChg>
        <pc:spChg chg="add mod">
          <ac:chgData name="Kuzman, Drago" userId="f0e54a4a-ef23-4504-ad0b-735a5dc6daea" providerId="ADAL" clId="{84A6FBFF-BA24-47B7-BD30-284AD6ECCBE0}" dt="2026-05-11T16:54:15.046" v="3668" actId="1076"/>
          <ac:spMkLst>
            <pc:docMk/>
            <pc:sldMk cId="1947913144" sldId="2147480869"/>
            <ac:spMk id="6" creationId="{E7A3B7AB-FB26-3439-9AAE-652687C610E9}"/>
          </ac:spMkLst>
        </pc:spChg>
        <pc:spChg chg="add mod">
          <ac:chgData name="Kuzman, Drago" userId="f0e54a4a-ef23-4504-ad0b-735a5dc6daea" providerId="ADAL" clId="{84A6FBFF-BA24-47B7-BD30-284AD6ECCBE0}" dt="2026-05-11T16:56:21.912" v="3723" actId="1076"/>
          <ac:spMkLst>
            <pc:docMk/>
            <pc:sldMk cId="1947913144" sldId="2147480869"/>
            <ac:spMk id="7" creationId="{C1195E83-78DB-C144-58EC-62BBF1EA7B58}"/>
          </ac:spMkLst>
        </pc:spChg>
        <pc:spChg chg="del">
          <ac:chgData name="Kuzman, Drago" userId="f0e54a4a-ef23-4504-ad0b-735a5dc6daea" providerId="ADAL" clId="{84A6FBFF-BA24-47B7-BD30-284AD6ECCBE0}" dt="2026-05-11T16:49:34.389" v="3557" actId="478"/>
          <ac:spMkLst>
            <pc:docMk/>
            <pc:sldMk cId="1947913144" sldId="2147480869"/>
            <ac:spMk id="18" creationId="{7127D107-9D25-7AE2-62F1-C98F542EC6BE}"/>
          </ac:spMkLst>
        </pc:spChg>
        <pc:spChg chg="del mod">
          <ac:chgData name="Kuzman, Drago" userId="f0e54a4a-ef23-4504-ad0b-735a5dc6daea" providerId="ADAL" clId="{84A6FBFF-BA24-47B7-BD30-284AD6ECCBE0}" dt="2026-05-11T16:50:03.473" v="3559" actId="478"/>
          <ac:spMkLst>
            <pc:docMk/>
            <pc:sldMk cId="1947913144" sldId="2147480869"/>
            <ac:spMk id="20" creationId="{68AD1C13-A791-2494-84CD-18346B396CC6}"/>
          </ac:spMkLst>
        </pc:spChg>
        <pc:picChg chg="mod">
          <ac:chgData name="Kuzman, Drago" userId="f0e54a4a-ef23-4504-ad0b-735a5dc6daea" providerId="ADAL" clId="{84A6FBFF-BA24-47B7-BD30-284AD6ECCBE0}" dt="2026-05-11T16:55:45.424" v="3718" actId="1076"/>
          <ac:picMkLst>
            <pc:docMk/>
            <pc:sldMk cId="1947913144" sldId="2147480869"/>
            <ac:picMk id="24" creationId="{8B18B528-0AF5-AB13-B584-A7B2BE9799B7}"/>
          </ac:picMkLst>
        </pc:picChg>
        <pc:picChg chg="mod">
          <ac:chgData name="Kuzman, Drago" userId="f0e54a4a-ef23-4504-ad0b-735a5dc6daea" providerId="ADAL" clId="{84A6FBFF-BA24-47B7-BD30-284AD6ECCBE0}" dt="2026-05-11T16:55:48.634" v="3719" actId="1076"/>
          <ac:picMkLst>
            <pc:docMk/>
            <pc:sldMk cId="1947913144" sldId="2147480869"/>
            <ac:picMk id="26" creationId="{D94EA031-667B-2448-E0B9-D6221789AF3F}"/>
          </ac:picMkLst>
        </pc:picChg>
      </pc:sldChg>
      <pc:sldChg chg="addSp delSp modSp mod">
        <pc:chgData name="Kuzman, Drago" userId="f0e54a4a-ef23-4504-ad0b-735a5dc6daea" providerId="ADAL" clId="{84A6FBFF-BA24-47B7-BD30-284AD6ECCBE0}" dt="2026-05-10T07:51:52.319" v="706" actId="1076"/>
        <pc:sldMkLst>
          <pc:docMk/>
          <pc:sldMk cId="2782321014" sldId="2147480871"/>
        </pc:sldMkLst>
        <pc:spChg chg="add mod">
          <ac:chgData name="Kuzman, Drago" userId="f0e54a4a-ef23-4504-ad0b-735a5dc6daea" providerId="ADAL" clId="{84A6FBFF-BA24-47B7-BD30-284AD6ECCBE0}" dt="2026-05-10T07:50:57.767" v="697" actId="1076"/>
          <ac:spMkLst>
            <pc:docMk/>
            <pc:sldMk cId="2782321014" sldId="2147480871"/>
            <ac:spMk id="9" creationId="{FC688622-6536-2B08-9E78-A578107DA9AA}"/>
          </ac:spMkLst>
        </pc:spChg>
        <pc:spChg chg="add mod">
          <ac:chgData name="Kuzman, Drago" userId="f0e54a4a-ef23-4504-ad0b-735a5dc6daea" providerId="ADAL" clId="{84A6FBFF-BA24-47B7-BD30-284AD6ECCBE0}" dt="2026-05-10T07:51:25.027" v="702" actId="1076"/>
          <ac:spMkLst>
            <pc:docMk/>
            <pc:sldMk cId="2782321014" sldId="2147480871"/>
            <ac:spMk id="10" creationId="{474B396E-B5EF-6281-1264-DC12DF751CEB}"/>
          </ac:spMkLst>
        </pc:spChg>
        <pc:spChg chg="add mod">
          <ac:chgData name="Kuzman, Drago" userId="f0e54a4a-ef23-4504-ad0b-735a5dc6daea" providerId="ADAL" clId="{84A6FBFF-BA24-47B7-BD30-284AD6ECCBE0}" dt="2026-05-10T07:50:52.791" v="696" actId="1076"/>
          <ac:spMkLst>
            <pc:docMk/>
            <pc:sldMk cId="2782321014" sldId="2147480871"/>
            <ac:spMk id="11" creationId="{F071382E-3452-EEDE-D22E-E29CF0E0B5A3}"/>
          </ac:spMkLst>
        </pc:spChg>
        <pc:spChg chg="add mod">
          <ac:chgData name="Kuzman, Drago" userId="f0e54a4a-ef23-4504-ad0b-735a5dc6daea" providerId="ADAL" clId="{84A6FBFF-BA24-47B7-BD30-284AD6ECCBE0}" dt="2026-05-10T07:51:20.913" v="701" actId="1076"/>
          <ac:spMkLst>
            <pc:docMk/>
            <pc:sldMk cId="2782321014" sldId="2147480871"/>
            <ac:spMk id="12" creationId="{1A6CD3D5-F885-378F-A302-C2AF9D3947D5}"/>
          </ac:spMkLst>
        </pc:spChg>
        <pc:spChg chg="add mod">
          <ac:chgData name="Kuzman, Drago" userId="f0e54a4a-ef23-4504-ad0b-735a5dc6daea" providerId="ADAL" clId="{84A6FBFF-BA24-47B7-BD30-284AD6ECCBE0}" dt="2026-05-10T07:51:15.114" v="700" actId="1076"/>
          <ac:spMkLst>
            <pc:docMk/>
            <pc:sldMk cId="2782321014" sldId="2147480871"/>
            <ac:spMk id="13" creationId="{CE29F30D-555B-2118-12B7-5731974A5B97}"/>
          </ac:spMkLst>
        </pc:spChg>
        <pc:spChg chg="add mod">
          <ac:chgData name="Kuzman, Drago" userId="f0e54a4a-ef23-4504-ad0b-735a5dc6daea" providerId="ADAL" clId="{84A6FBFF-BA24-47B7-BD30-284AD6ECCBE0}" dt="2026-05-10T07:51:42.022" v="704" actId="1076"/>
          <ac:spMkLst>
            <pc:docMk/>
            <pc:sldMk cId="2782321014" sldId="2147480871"/>
            <ac:spMk id="14" creationId="{7B140226-E663-CBD4-767C-8E0D686F1314}"/>
          </ac:spMkLst>
        </pc:spChg>
        <pc:spChg chg="add mod">
          <ac:chgData name="Kuzman, Drago" userId="f0e54a4a-ef23-4504-ad0b-735a5dc6daea" providerId="ADAL" clId="{84A6FBFF-BA24-47B7-BD30-284AD6ECCBE0}" dt="2026-05-10T07:51:52.319" v="706" actId="1076"/>
          <ac:spMkLst>
            <pc:docMk/>
            <pc:sldMk cId="2782321014" sldId="2147480871"/>
            <ac:spMk id="15" creationId="{FDB76430-918F-F662-962C-AB862C8CC125}"/>
          </ac:spMkLst>
        </pc:spChg>
        <pc:spChg chg="add mod">
          <ac:chgData name="Kuzman, Drago" userId="f0e54a4a-ef23-4504-ad0b-735a5dc6daea" providerId="ADAL" clId="{84A6FBFF-BA24-47B7-BD30-284AD6ECCBE0}" dt="2026-05-10T07:51:31.174" v="703" actId="1076"/>
          <ac:spMkLst>
            <pc:docMk/>
            <pc:sldMk cId="2782321014" sldId="2147480871"/>
            <ac:spMk id="16" creationId="{51C49D90-82E4-8EAF-7A8F-CF274F20340C}"/>
          </ac:spMkLst>
        </pc:spChg>
        <pc:spChg chg="add mod">
          <ac:chgData name="Kuzman, Drago" userId="f0e54a4a-ef23-4504-ad0b-735a5dc6daea" providerId="ADAL" clId="{84A6FBFF-BA24-47B7-BD30-284AD6ECCBE0}" dt="2026-05-10T07:50:46.844" v="695" actId="1076"/>
          <ac:spMkLst>
            <pc:docMk/>
            <pc:sldMk cId="2782321014" sldId="2147480871"/>
            <ac:spMk id="17" creationId="{5601F935-E730-290E-42DC-83C99FC4DD87}"/>
          </ac:spMkLst>
        </pc:spChg>
        <pc:spChg chg="add mod">
          <ac:chgData name="Kuzman, Drago" userId="f0e54a4a-ef23-4504-ad0b-735a5dc6daea" providerId="ADAL" clId="{84A6FBFF-BA24-47B7-BD30-284AD6ECCBE0}" dt="2026-05-10T07:51:44.416" v="705" actId="1076"/>
          <ac:spMkLst>
            <pc:docMk/>
            <pc:sldMk cId="2782321014" sldId="2147480871"/>
            <ac:spMk id="18" creationId="{022B0D63-F318-BBF2-0C75-99CFBA66864E}"/>
          </ac:spMkLst>
        </pc:spChg>
        <pc:cxnChg chg="mod">
          <ac:chgData name="Kuzman, Drago" userId="f0e54a4a-ef23-4504-ad0b-735a5dc6daea" providerId="ADAL" clId="{84A6FBFF-BA24-47B7-BD30-284AD6ECCBE0}" dt="2026-05-10T07:50:19.498" v="690" actId="478"/>
          <ac:cxnSpMkLst>
            <pc:docMk/>
            <pc:sldMk cId="2782321014" sldId="2147480871"/>
            <ac:cxnSpMk id="44" creationId="{DF4770E0-6EC0-33B9-245F-3FEB0D212B02}"/>
          </ac:cxnSpMkLst>
        </pc:cxnChg>
      </pc:sldChg>
      <pc:sldChg chg="addSp delSp modSp mod">
        <pc:chgData name="Kuzman, Drago" userId="f0e54a4a-ef23-4504-ad0b-735a5dc6daea" providerId="ADAL" clId="{84A6FBFF-BA24-47B7-BD30-284AD6ECCBE0}" dt="2026-05-12T07:24:47.877" v="5109" actId="1076"/>
        <pc:sldMkLst>
          <pc:docMk/>
          <pc:sldMk cId="3444997465" sldId="2147483620"/>
        </pc:sldMkLst>
        <pc:spChg chg="mod">
          <ac:chgData name="Kuzman, Drago" userId="f0e54a4a-ef23-4504-ad0b-735a5dc6daea" providerId="ADAL" clId="{84A6FBFF-BA24-47B7-BD30-284AD6ECCBE0}" dt="2026-05-10T08:51:07.383" v="1648" actId="20577"/>
          <ac:spMkLst>
            <pc:docMk/>
            <pc:sldMk cId="3444997465" sldId="2147483620"/>
            <ac:spMk id="2" creationId="{BD52892B-FF95-EB11-88C8-1F453521D525}"/>
          </ac:spMkLst>
        </pc:spChg>
        <pc:spChg chg="del">
          <ac:chgData name="Kuzman, Drago" userId="f0e54a4a-ef23-4504-ad0b-735a5dc6daea" providerId="ADAL" clId="{84A6FBFF-BA24-47B7-BD30-284AD6ECCBE0}" dt="2026-05-12T07:24:36.348" v="5105" actId="478"/>
          <ac:spMkLst>
            <pc:docMk/>
            <pc:sldMk cId="3444997465" sldId="2147483620"/>
            <ac:spMk id="3" creationId="{E028EFBC-D45F-F66A-15E6-B53506AFB438}"/>
          </ac:spMkLst>
        </pc:spChg>
        <pc:spChg chg="add mod">
          <ac:chgData name="Kuzman, Drago" userId="f0e54a4a-ef23-4504-ad0b-735a5dc6daea" providerId="ADAL" clId="{84A6FBFF-BA24-47B7-BD30-284AD6ECCBE0}" dt="2026-05-11T16:36:26.589" v="3504" actId="6549"/>
          <ac:spMkLst>
            <pc:docMk/>
            <pc:sldMk cId="3444997465" sldId="2147483620"/>
            <ac:spMk id="5" creationId="{6D4EDC6A-04AA-A80E-3427-FD0158024193}"/>
          </ac:spMkLst>
        </pc:spChg>
        <pc:spChg chg="mod">
          <ac:chgData name="Kuzman, Drago" userId="f0e54a4a-ef23-4504-ad0b-735a5dc6daea" providerId="ADAL" clId="{84A6FBFF-BA24-47B7-BD30-284AD6ECCBE0}" dt="2026-05-10T08:49:58.509" v="1584" actId="1076"/>
          <ac:spMkLst>
            <pc:docMk/>
            <pc:sldMk cId="3444997465" sldId="2147483620"/>
            <ac:spMk id="13" creationId="{743C961A-06C2-4DD6-DE5D-30387F87FC74}"/>
          </ac:spMkLst>
        </pc:spChg>
        <pc:picChg chg="del">
          <ac:chgData name="Kuzman, Drago" userId="f0e54a4a-ef23-4504-ad0b-735a5dc6daea" providerId="ADAL" clId="{84A6FBFF-BA24-47B7-BD30-284AD6ECCBE0}" dt="2026-05-12T07:24:31.914" v="5104" actId="478"/>
          <ac:picMkLst>
            <pc:docMk/>
            <pc:sldMk cId="3444997465" sldId="2147483620"/>
            <ac:picMk id="7" creationId="{5E49BAE0-15E2-F080-A289-EC91B7159C64}"/>
          </ac:picMkLst>
        </pc:picChg>
        <pc:picChg chg="add mod">
          <ac:chgData name="Kuzman, Drago" userId="f0e54a4a-ef23-4504-ad0b-735a5dc6daea" providerId="ADAL" clId="{84A6FBFF-BA24-47B7-BD30-284AD6ECCBE0}" dt="2026-05-12T07:24:47.877" v="5109" actId="1076"/>
          <ac:picMkLst>
            <pc:docMk/>
            <pc:sldMk cId="3444997465" sldId="2147483620"/>
            <ac:picMk id="8" creationId="{652FE954-535C-40F7-61DD-E1E966B59C6D}"/>
          </ac:picMkLst>
        </pc:picChg>
      </pc:sldChg>
      <pc:sldChg chg="addSp delSp modSp new mod">
        <pc:chgData name="Kuzman, Drago" userId="f0e54a4a-ef23-4504-ad0b-735a5dc6daea" providerId="ADAL" clId="{84A6FBFF-BA24-47B7-BD30-284AD6ECCBE0}" dt="2026-05-11T17:26:50.419" v="3879" actId="14100"/>
        <pc:sldMkLst>
          <pc:docMk/>
          <pc:sldMk cId="1993878196" sldId="2147483643"/>
        </pc:sldMkLst>
        <pc:spChg chg="mod">
          <ac:chgData name="Kuzman, Drago" userId="f0e54a4a-ef23-4504-ad0b-735a5dc6daea" providerId="ADAL" clId="{84A6FBFF-BA24-47B7-BD30-284AD6ECCBE0}" dt="2026-05-11T16:26:36.946" v="3304" actId="20577"/>
          <ac:spMkLst>
            <pc:docMk/>
            <pc:sldMk cId="1993878196" sldId="2147483643"/>
            <ac:spMk id="2" creationId="{ADE2CE53-7D4C-5542-5953-0432D93D094E}"/>
          </ac:spMkLst>
        </pc:spChg>
        <pc:spChg chg="mod">
          <ac:chgData name="Kuzman, Drago" userId="f0e54a4a-ef23-4504-ad0b-735a5dc6daea" providerId="ADAL" clId="{84A6FBFF-BA24-47B7-BD30-284AD6ECCBE0}" dt="2026-05-11T17:26:14.480" v="3870"/>
          <ac:spMkLst>
            <pc:docMk/>
            <pc:sldMk cId="1993878196" sldId="2147483643"/>
            <ac:spMk id="11" creationId="{5BFC77C4-3925-8F7F-425C-27A3184C1856}"/>
          </ac:spMkLst>
        </pc:spChg>
        <pc:spChg chg="mod">
          <ac:chgData name="Kuzman, Drago" userId="f0e54a4a-ef23-4504-ad0b-735a5dc6daea" providerId="ADAL" clId="{84A6FBFF-BA24-47B7-BD30-284AD6ECCBE0}" dt="2026-05-11T17:26:14.480" v="3870"/>
          <ac:spMkLst>
            <pc:docMk/>
            <pc:sldMk cId="1993878196" sldId="2147483643"/>
            <ac:spMk id="16" creationId="{3DCED1A8-8184-ECE9-BB04-B92518278AC9}"/>
          </ac:spMkLst>
        </pc:spChg>
        <pc:spChg chg="add mod">
          <ac:chgData name="Kuzman, Drago" userId="f0e54a4a-ef23-4504-ad0b-735a5dc6daea" providerId="ADAL" clId="{84A6FBFF-BA24-47B7-BD30-284AD6ECCBE0}" dt="2026-05-11T17:26:21.123" v="3871" actId="1076"/>
          <ac:spMkLst>
            <pc:docMk/>
            <pc:sldMk cId="1993878196" sldId="2147483643"/>
            <ac:spMk id="17" creationId="{9ACB9258-49FE-9ADF-B548-EB27BA5204D0}"/>
          </ac:spMkLst>
        </pc:spChg>
        <pc:spChg chg="add mod">
          <ac:chgData name="Kuzman, Drago" userId="f0e54a4a-ef23-4504-ad0b-735a5dc6daea" providerId="ADAL" clId="{84A6FBFF-BA24-47B7-BD30-284AD6ECCBE0}" dt="2026-05-11T17:26:21.123" v="3871" actId="1076"/>
          <ac:spMkLst>
            <pc:docMk/>
            <pc:sldMk cId="1993878196" sldId="2147483643"/>
            <ac:spMk id="18" creationId="{39983274-3911-53BC-9CDB-EAFB22FE2CEB}"/>
          </ac:spMkLst>
        </pc:spChg>
        <pc:spChg chg="add mod">
          <ac:chgData name="Kuzman, Drago" userId="f0e54a4a-ef23-4504-ad0b-735a5dc6daea" providerId="ADAL" clId="{84A6FBFF-BA24-47B7-BD30-284AD6ECCBE0}" dt="2026-05-11T17:26:21.123" v="3871" actId="1076"/>
          <ac:spMkLst>
            <pc:docMk/>
            <pc:sldMk cId="1993878196" sldId="2147483643"/>
            <ac:spMk id="19" creationId="{5ECE3916-8E1C-D551-62A5-1C66F1095B72}"/>
          </ac:spMkLst>
        </pc:spChg>
        <pc:spChg chg="add mod">
          <ac:chgData name="Kuzman, Drago" userId="f0e54a4a-ef23-4504-ad0b-735a5dc6daea" providerId="ADAL" clId="{84A6FBFF-BA24-47B7-BD30-284AD6ECCBE0}" dt="2026-05-11T17:26:21.123" v="3871" actId="1076"/>
          <ac:spMkLst>
            <pc:docMk/>
            <pc:sldMk cId="1993878196" sldId="2147483643"/>
            <ac:spMk id="20" creationId="{9D675B12-EE00-5898-A83C-5E550C278258}"/>
          </ac:spMkLst>
        </pc:spChg>
        <pc:spChg chg="add del mod">
          <ac:chgData name="Kuzman, Drago" userId="f0e54a4a-ef23-4504-ad0b-735a5dc6daea" providerId="ADAL" clId="{84A6FBFF-BA24-47B7-BD30-284AD6ECCBE0}" dt="2026-05-11T17:26:32.072" v="3873" actId="478"/>
          <ac:spMkLst>
            <pc:docMk/>
            <pc:sldMk cId="1993878196" sldId="2147483643"/>
            <ac:spMk id="21" creationId="{89EE954A-587D-0936-DAA4-0F7964B4CCF2}"/>
          </ac:spMkLst>
        </pc:spChg>
        <pc:spChg chg="add mod">
          <ac:chgData name="Kuzman, Drago" userId="f0e54a4a-ef23-4504-ad0b-735a5dc6daea" providerId="ADAL" clId="{84A6FBFF-BA24-47B7-BD30-284AD6ECCBE0}" dt="2026-05-11T17:26:21.123" v="3871" actId="1076"/>
          <ac:spMkLst>
            <pc:docMk/>
            <pc:sldMk cId="1993878196" sldId="2147483643"/>
            <ac:spMk id="26" creationId="{B0ECED14-B4C2-49F9-3AF6-0B232CA244EA}"/>
          </ac:spMkLst>
        </pc:spChg>
        <pc:spChg chg="add mod">
          <ac:chgData name="Kuzman, Drago" userId="f0e54a4a-ef23-4504-ad0b-735a5dc6daea" providerId="ADAL" clId="{84A6FBFF-BA24-47B7-BD30-284AD6ECCBE0}" dt="2026-05-11T16:27:43.167" v="3319" actId="1076"/>
          <ac:spMkLst>
            <pc:docMk/>
            <pc:sldMk cId="1993878196" sldId="2147483643"/>
            <ac:spMk id="27" creationId="{CD78C2AA-4298-E53C-014A-08189FD26FE2}"/>
          </ac:spMkLst>
        </pc:spChg>
        <pc:spChg chg="add del mod">
          <ac:chgData name="Kuzman, Drago" userId="f0e54a4a-ef23-4504-ad0b-735a5dc6daea" providerId="ADAL" clId="{84A6FBFF-BA24-47B7-BD30-284AD6ECCBE0}" dt="2026-05-11T17:26:42.640" v="3877" actId="478"/>
          <ac:spMkLst>
            <pc:docMk/>
            <pc:sldMk cId="1993878196" sldId="2147483643"/>
            <ac:spMk id="28" creationId="{407071D6-D478-B5FE-865C-94C23A8686AB}"/>
          </ac:spMkLst>
        </pc:spChg>
        <pc:spChg chg="add del mod">
          <ac:chgData name="Kuzman, Drago" userId="f0e54a4a-ef23-4504-ad0b-735a5dc6daea" providerId="ADAL" clId="{84A6FBFF-BA24-47B7-BD30-284AD6ECCBE0}" dt="2026-05-11T17:26:08.237" v="3869" actId="478"/>
          <ac:spMkLst>
            <pc:docMk/>
            <pc:sldMk cId="1993878196" sldId="2147483643"/>
            <ac:spMk id="31" creationId="{89DAC955-9C61-8EBC-111D-B93D9E8DB864}"/>
          </ac:spMkLst>
        </pc:spChg>
        <pc:spChg chg="add del mod">
          <ac:chgData name="Kuzman, Drago" userId="f0e54a4a-ef23-4504-ad0b-735a5dc6daea" providerId="ADAL" clId="{84A6FBFF-BA24-47B7-BD30-284AD6ECCBE0}" dt="2026-05-11T17:26:08.237" v="3869" actId="478"/>
          <ac:spMkLst>
            <pc:docMk/>
            <pc:sldMk cId="1993878196" sldId="2147483643"/>
            <ac:spMk id="32" creationId="{D0432333-FE99-7714-9CDB-4DB4A1077AFD}"/>
          </ac:spMkLst>
        </pc:spChg>
        <pc:spChg chg="add del mod">
          <ac:chgData name="Kuzman, Drago" userId="f0e54a4a-ef23-4504-ad0b-735a5dc6daea" providerId="ADAL" clId="{84A6FBFF-BA24-47B7-BD30-284AD6ECCBE0}" dt="2026-05-11T17:26:08.237" v="3869" actId="478"/>
          <ac:spMkLst>
            <pc:docMk/>
            <pc:sldMk cId="1993878196" sldId="2147483643"/>
            <ac:spMk id="33" creationId="{BBE85449-87B4-10E0-98F8-BABD2551C01C}"/>
          </ac:spMkLst>
        </pc:spChg>
        <pc:spChg chg="add del mod">
          <ac:chgData name="Kuzman, Drago" userId="f0e54a4a-ef23-4504-ad0b-735a5dc6daea" providerId="ADAL" clId="{84A6FBFF-BA24-47B7-BD30-284AD6ECCBE0}" dt="2026-05-11T17:26:08.237" v="3869" actId="478"/>
          <ac:spMkLst>
            <pc:docMk/>
            <pc:sldMk cId="1993878196" sldId="2147483643"/>
            <ac:spMk id="34" creationId="{9B405839-EB0E-1C1E-6C82-1351EA57FB91}"/>
          </ac:spMkLst>
        </pc:spChg>
        <pc:spChg chg="mod">
          <ac:chgData name="Kuzman, Drago" userId="f0e54a4a-ef23-4504-ad0b-735a5dc6daea" providerId="ADAL" clId="{84A6FBFF-BA24-47B7-BD30-284AD6ECCBE0}" dt="2026-05-10T08:16:18.426" v="1074" actId="1076"/>
          <ac:spMkLst>
            <pc:docMk/>
            <pc:sldMk cId="1993878196" sldId="2147483643"/>
            <ac:spMk id="39" creationId="{B40FFC4A-DEED-4F54-4EBF-0FAC1C4D36B5}"/>
          </ac:spMkLst>
        </pc:spChg>
        <pc:spChg chg="mod">
          <ac:chgData name="Kuzman, Drago" userId="f0e54a4a-ef23-4504-ad0b-735a5dc6daea" providerId="ADAL" clId="{84A6FBFF-BA24-47B7-BD30-284AD6ECCBE0}" dt="2026-05-10T07:59:40.018" v="854"/>
          <ac:spMkLst>
            <pc:docMk/>
            <pc:sldMk cId="1993878196" sldId="2147483643"/>
            <ac:spMk id="40" creationId="{4CCD5155-9278-69B5-CA5D-D14F14EB16F8}"/>
          </ac:spMkLst>
        </pc:spChg>
        <pc:spChg chg="add mod">
          <ac:chgData name="Kuzman, Drago" userId="f0e54a4a-ef23-4504-ad0b-735a5dc6daea" providerId="ADAL" clId="{84A6FBFF-BA24-47B7-BD30-284AD6ECCBE0}" dt="2026-05-10T07:59:51.105" v="855" actId="1076"/>
          <ac:spMkLst>
            <pc:docMk/>
            <pc:sldMk cId="1993878196" sldId="2147483643"/>
            <ac:spMk id="41" creationId="{3512A67C-F2BB-230A-18B7-DA1841735434}"/>
          </ac:spMkLst>
        </pc:spChg>
        <pc:spChg chg="add mod">
          <ac:chgData name="Kuzman, Drago" userId="f0e54a4a-ef23-4504-ad0b-735a5dc6daea" providerId="ADAL" clId="{84A6FBFF-BA24-47B7-BD30-284AD6ECCBE0}" dt="2026-05-10T07:59:51.105" v="855" actId="1076"/>
          <ac:spMkLst>
            <pc:docMk/>
            <pc:sldMk cId="1993878196" sldId="2147483643"/>
            <ac:spMk id="42" creationId="{50E5AE77-7A64-6DB5-8D47-8C2086A6A6BF}"/>
          </ac:spMkLst>
        </pc:spChg>
        <pc:spChg chg="add mod">
          <ac:chgData name="Kuzman, Drago" userId="f0e54a4a-ef23-4504-ad0b-735a5dc6daea" providerId="ADAL" clId="{84A6FBFF-BA24-47B7-BD30-284AD6ECCBE0}" dt="2026-05-10T07:59:51.105" v="855" actId="1076"/>
          <ac:spMkLst>
            <pc:docMk/>
            <pc:sldMk cId="1993878196" sldId="2147483643"/>
            <ac:spMk id="43" creationId="{BB6B9909-82E3-3156-97D2-C06FAF88F251}"/>
          </ac:spMkLst>
        </pc:spChg>
        <pc:spChg chg="add mod">
          <ac:chgData name="Kuzman, Drago" userId="f0e54a4a-ef23-4504-ad0b-735a5dc6daea" providerId="ADAL" clId="{84A6FBFF-BA24-47B7-BD30-284AD6ECCBE0}" dt="2026-05-10T08:04:35.022" v="871" actId="1076"/>
          <ac:spMkLst>
            <pc:docMk/>
            <pc:sldMk cId="1993878196" sldId="2147483643"/>
            <ac:spMk id="44" creationId="{279E6717-1F4D-0B9E-2B83-3AE6AD57161A}"/>
          </ac:spMkLst>
        </pc:spChg>
        <pc:spChg chg="add mod">
          <ac:chgData name="Kuzman, Drago" userId="f0e54a4a-ef23-4504-ad0b-735a5dc6daea" providerId="ADAL" clId="{84A6FBFF-BA24-47B7-BD30-284AD6ECCBE0}" dt="2026-05-10T08:12:50.674" v="1038" actId="1076"/>
          <ac:spMkLst>
            <pc:docMk/>
            <pc:sldMk cId="1993878196" sldId="2147483643"/>
            <ac:spMk id="55" creationId="{86AC4708-BC8B-D825-D681-7200FA478AF7}"/>
          </ac:spMkLst>
        </pc:spChg>
        <pc:spChg chg="add mod">
          <ac:chgData name="Kuzman, Drago" userId="f0e54a4a-ef23-4504-ad0b-735a5dc6daea" providerId="ADAL" clId="{84A6FBFF-BA24-47B7-BD30-284AD6ECCBE0}" dt="2026-05-10T08:18:24.882" v="1105" actId="1035"/>
          <ac:spMkLst>
            <pc:docMk/>
            <pc:sldMk cId="1993878196" sldId="2147483643"/>
            <ac:spMk id="69" creationId="{E22E09F3-B694-F88F-A139-D4193CF6FD3F}"/>
          </ac:spMkLst>
        </pc:spChg>
        <pc:spChg chg="add mod">
          <ac:chgData name="Kuzman, Drago" userId="f0e54a4a-ef23-4504-ad0b-735a5dc6daea" providerId="ADAL" clId="{84A6FBFF-BA24-47B7-BD30-284AD6ECCBE0}" dt="2026-05-10T08:18:14.600" v="1102" actId="1076"/>
          <ac:spMkLst>
            <pc:docMk/>
            <pc:sldMk cId="1993878196" sldId="2147483643"/>
            <ac:spMk id="70" creationId="{AAF83778-472C-DACF-AD0D-5F1F9D177D17}"/>
          </ac:spMkLst>
        </pc:spChg>
        <pc:spChg chg="mod">
          <ac:chgData name="Kuzman, Drago" userId="f0e54a4a-ef23-4504-ad0b-735a5dc6daea" providerId="ADAL" clId="{84A6FBFF-BA24-47B7-BD30-284AD6ECCBE0}" dt="2026-05-10T08:19:13.285" v="1112"/>
          <ac:spMkLst>
            <pc:docMk/>
            <pc:sldMk cId="1993878196" sldId="2147483643"/>
            <ac:spMk id="76" creationId="{A9A041FA-F396-1BB5-F16F-53C16EA19362}"/>
          </ac:spMkLst>
        </pc:spChg>
        <pc:spChg chg="mod">
          <ac:chgData name="Kuzman, Drago" userId="f0e54a4a-ef23-4504-ad0b-735a5dc6daea" providerId="ADAL" clId="{84A6FBFF-BA24-47B7-BD30-284AD6ECCBE0}" dt="2026-05-10T08:19:13.285" v="1112"/>
          <ac:spMkLst>
            <pc:docMk/>
            <pc:sldMk cId="1993878196" sldId="2147483643"/>
            <ac:spMk id="77" creationId="{6CE55A8A-B9CB-3A2D-AF3B-29078BDFB10A}"/>
          </ac:spMkLst>
        </pc:spChg>
        <pc:spChg chg="add mod">
          <ac:chgData name="Kuzman, Drago" userId="f0e54a4a-ef23-4504-ad0b-735a5dc6daea" providerId="ADAL" clId="{84A6FBFF-BA24-47B7-BD30-284AD6ECCBE0}" dt="2026-05-10T08:19:22.192" v="1113" actId="1076"/>
          <ac:spMkLst>
            <pc:docMk/>
            <pc:sldMk cId="1993878196" sldId="2147483643"/>
            <ac:spMk id="78" creationId="{D5EC5315-61F3-2C66-C781-6E59BD53AA91}"/>
          </ac:spMkLst>
        </pc:spChg>
        <pc:spChg chg="add mod">
          <ac:chgData name="Kuzman, Drago" userId="f0e54a4a-ef23-4504-ad0b-735a5dc6daea" providerId="ADAL" clId="{84A6FBFF-BA24-47B7-BD30-284AD6ECCBE0}" dt="2026-05-10T08:19:22.192" v="1113" actId="1076"/>
          <ac:spMkLst>
            <pc:docMk/>
            <pc:sldMk cId="1993878196" sldId="2147483643"/>
            <ac:spMk id="79" creationId="{7398662C-D933-EDC5-293B-0652C60BB643}"/>
          </ac:spMkLst>
        </pc:spChg>
        <pc:spChg chg="add mod">
          <ac:chgData name="Kuzman, Drago" userId="f0e54a4a-ef23-4504-ad0b-735a5dc6daea" providerId="ADAL" clId="{84A6FBFF-BA24-47B7-BD30-284AD6ECCBE0}" dt="2026-05-10T08:19:22.192" v="1113" actId="1076"/>
          <ac:spMkLst>
            <pc:docMk/>
            <pc:sldMk cId="1993878196" sldId="2147483643"/>
            <ac:spMk id="80" creationId="{8A16B8C9-B0C0-B054-71B9-F945A7C35A1D}"/>
          </ac:spMkLst>
        </pc:spChg>
        <pc:spChg chg="add mod">
          <ac:chgData name="Kuzman, Drago" userId="f0e54a4a-ef23-4504-ad0b-735a5dc6daea" providerId="ADAL" clId="{84A6FBFF-BA24-47B7-BD30-284AD6ECCBE0}" dt="2026-05-10T08:19:22.192" v="1113" actId="1076"/>
          <ac:spMkLst>
            <pc:docMk/>
            <pc:sldMk cId="1993878196" sldId="2147483643"/>
            <ac:spMk id="81" creationId="{FD4A66F4-8313-99E3-79D1-E8A87CE6A720}"/>
          </ac:spMkLst>
        </pc:spChg>
        <pc:spChg chg="add mod">
          <ac:chgData name="Kuzman, Drago" userId="f0e54a4a-ef23-4504-ad0b-735a5dc6daea" providerId="ADAL" clId="{84A6FBFF-BA24-47B7-BD30-284AD6ECCBE0}" dt="2026-05-10T08:19:22.192" v="1113" actId="1076"/>
          <ac:spMkLst>
            <pc:docMk/>
            <pc:sldMk cId="1993878196" sldId="2147483643"/>
            <ac:spMk id="83" creationId="{7C1AAC50-70CE-0DAD-2780-634730A0C2B7}"/>
          </ac:spMkLst>
        </pc:spChg>
        <pc:spChg chg="add mod">
          <ac:chgData name="Kuzman, Drago" userId="f0e54a4a-ef23-4504-ad0b-735a5dc6daea" providerId="ADAL" clId="{84A6FBFF-BA24-47B7-BD30-284AD6ECCBE0}" dt="2026-05-10T08:19:22.192" v="1113" actId="1076"/>
          <ac:spMkLst>
            <pc:docMk/>
            <pc:sldMk cId="1993878196" sldId="2147483643"/>
            <ac:spMk id="87" creationId="{E5208712-46E2-7B42-E482-F88A72AE6D66}"/>
          </ac:spMkLst>
        </pc:spChg>
        <pc:spChg chg="add mod">
          <ac:chgData name="Kuzman, Drago" userId="f0e54a4a-ef23-4504-ad0b-735a5dc6daea" providerId="ADAL" clId="{84A6FBFF-BA24-47B7-BD30-284AD6ECCBE0}" dt="2026-05-10T08:19:22.192" v="1113" actId="1076"/>
          <ac:spMkLst>
            <pc:docMk/>
            <pc:sldMk cId="1993878196" sldId="2147483643"/>
            <ac:spMk id="88" creationId="{7FC59894-365A-4553-1664-C80D8A0B0FC4}"/>
          </ac:spMkLst>
        </pc:spChg>
        <pc:spChg chg="add mod">
          <ac:chgData name="Kuzman, Drago" userId="f0e54a4a-ef23-4504-ad0b-735a5dc6daea" providerId="ADAL" clId="{84A6FBFF-BA24-47B7-BD30-284AD6ECCBE0}" dt="2026-05-10T08:20:42.205" v="1127" actId="1076"/>
          <ac:spMkLst>
            <pc:docMk/>
            <pc:sldMk cId="1993878196" sldId="2147483643"/>
            <ac:spMk id="95" creationId="{E4593B05-D8FF-20C5-FE8E-6641D036C6B2}"/>
          </ac:spMkLst>
        </pc:spChg>
        <pc:spChg chg="add mod">
          <ac:chgData name="Kuzman, Drago" userId="f0e54a4a-ef23-4504-ad0b-735a5dc6daea" providerId="ADAL" clId="{84A6FBFF-BA24-47B7-BD30-284AD6ECCBE0}" dt="2026-05-10T08:21:14.555" v="1133" actId="207"/>
          <ac:spMkLst>
            <pc:docMk/>
            <pc:sldMk cId="1993878196" sldId="2147483643"/>
            <ac:spMk id="96" creationId="{88D1A43B-DFC3-AA9C-16E4-5D8101EE85CA}"/>
          </ac:spMkLst>
        </pc:spChg>
        <pc:grpChg chg="add mod">
          <ac:chgData name="Kuzman, Drago" userId="f0e54a4a-ef23-4504-ad0b-735a5dc6daea" providerId="ADAL" clId="{84A6FBFF-BA24-47B7-BD30-284AD6ECCBE0}" dt="2026-05-11T17:26:21.123" v="3871" actId="1076"/>
          <ac:grpSpMkLst>
            <pc:docMk/>
            <pc:sldMk cId="1993878196" sldId="2147483643"/>
            <ac:grpSpMk id="8" creationId="{4D9AA4FD-31DF-521D-B021-99447C691412}"/>
          </ac:grpSpMkLst>
        </pc:grpChg>
        <pc:grpChg chg="add del mod">
          <ac:chgData name="Kuzman, Drago" userId="f0e54a4a-ef23-4504-ad0b-735a5dc6daea" providerId="ADAL" clId="{84A6FBFF-BA24-47B7-BD30-284AD6ECCBE0}" dt="2026-05-11T17:26:08.237" v="3869" actId="478"/>
          <ac:grpSpMkLst>
            <pc:docMk/>
            <pc:sldMk cId="1993878196" sldId="2147483643"/>
            <ac:grpSpMk id="15" creationId="{8D1B777A-229E-7F7A-E0FB-8BAC1B326850}"/>
          </ac:grpSpMkLst>
        </pc:grpChg>
        <pc:grpChg chg="add mod">
          <ac:chgData name="Kuzman, Drago" userId="f0e54a4a-ef23-4504-ad0b-735a5dc6daea" providerId="ADAL" clId="{84A6FBFF-BA24-47B7-BD30-284AD6ECCBE0}" dt="2026-05-10T07:59:51.105" v="855" actId="1076"/>
          <ac:grpSpMkLst>
            <pc:docMk/>
            <pc:sldMk cId="1993878196" sldId="2147483643"/>
            <ac:grpSpMk id="36" creationId="{243D7881-B4D9-410E-4713-A776985ABF2F}"/>
          </ac:grpSpMkLst>
        </pc:grpChg>
        <pc:grpChg chg="add mod">
          <ac:chgData name="Kuzman, Drago" userId="f0e54a4a-ef23-4504-ad0b-735a5dc6daea" providerId="ADAL" clId="{84A6FBFF-BA24-47B7-BD30-284AD6ECCBE0}" dt="2026-05-10T08:19:22.192" v="1113" actId="1076"/>
          <ac:grpSpMkLst>
            <pc:docMk/>
            <pc:sldMk cId="1993878196" sldId="2147483643"/>
            <ac:grpSpMk id="73" creationId="{E6B87F94-33C2-94E3-A7CE-3D6C67E63142}"/>
          </ac:grpSpMkLst>
        </pc:grpChg>
        <pc:graphicFrameChg chg="add mod modGraphic">
          <ac:chgData name="Kuzman, Drago" userId="f0e54a4a-ef23-4504-ad0b-735a5dc6daea" providerId="ADAL" clId="{84A6FBFF-BA24-47B7-BD30-284AD6ECCBE0}" dt="2026-05-11T16:24:23.340" v="3288" actId="1076"/>
          <ac:graphicFrameMkLst>
            <pc:docMk/>
            <pc:sldMk cId="1993878196" sldId="2147483643"/>
            <ac:graphicFrameMk id="54" creationId="{50453955-FB4A-A02B-6AB1-1370B73C69E7}"/>
          </ac:graphicFrameMkLst>
        </pc:graphicFrameChg>
        <pc:cxnChg chg="add del mod">
          <ac:chgData name="Kuzman, Drago" userId="f0e54a4a-ef23-4504-ad0b-735a5dc6daea" providerId="ADAL" clId="{84A6FBFF-BA24-47B7-BD30-284AD6ECCBE0}" dt="2026-05-11T17:26:02.827" v="3868" actId="478"/>
          <ac:cxnSpMkLst>
            <pc:docMk/>
            <pc:sldMk cId="1993878196" sldId="2147483643"/>
            <ac:cxnSpMk id="3" creationId="{9A9DE2BD-A676-D2BB-740E-806EBBC8BA02}"/>
          </ac:cxnSpMkLst>
        </pc:cxnChg>
        <pc:cxnChg chg="del mod">
          <ac:chgData name="Kuzman, Drago" userId="f0e54a4a-ef23-4504-ad0b-735a5dc6daea" providerId="ADAL" clId="{84A6FBFF-BA24-47B7-BD30-284AD6ECCBE0}" dt="2026-05-11T17:26:30.002" v="3872" actId="478"/>
          <ac:cxnSpMkLst>
            <pc:docMk/>
            <pc:sldMk cId="1993878196" sldId="2147483643"/>
            <ac:cxnSpMk id="5" creationId="{10278F03-C051-9CCC-B698-CF9325AA58AB}"/>
          </ac:cxnSpMkLst>
        </pc:cxnChg>
        <pc:cxnChg chg="add del mod ord">
          <ac:chgData name="Kuzman, Drago" userId="f0e54a4a-ef23-4504-ad0b-735a5dc6daea" providerId="ADAL" clId="{84A6FBFF-BA24-47B7-BD30-284AD6ECCBE0}" dt="2026-05-11T17:26:08.237" v="3869" actId="478"/>
          <ac:cxnSpMkLst>
            <pc:docMk/>
            <pc:sldMk cId="1993878196" sldId="2147483643"/>
            <ac:cxnSpMk id="22" creationId="{2194DB0C-6C8F-BA4E-6B40-5EC493B34907}"/>
          </ac:cxnSpMkLst>
        </pc:cxnChg>
        <pc:cxnChg chg="add del mod">
          <ac:chgData name="Kuzman, Drago" userId="f0e54a4a-ef23-4504-ad0b-735a5dc6daea" providerId="ADAL" clId="{84A6FBFF-BA24-47B7-BD30-284AD6ECCBE0}" dt="2026-05-11T17:26:47.245" v="3878" actId="14100"/>
          <ac:cxnSpMkLst>
            <pc:docMk/>
            <pc:sldMk cId="1993878196" sldId="2147483643"/>
            <ac:cxnSpMk id="23" creationId="{E04907FA-3C19-0E4F-D192-CCB279E13A9E}"/>
          </ac:cxnSpMkLst>
        </pc:cxnChg>
        <pc:cxnChg chg="mod">
          <ac:chgData name="Kuzman, Drago" userId="f0e54a4a-ef23-4504-ad0b-735a5dc6daea" providerId="ADAL" clId="{84A6FBFF-BA24-47B7-BD30-284AD6ECCBE0}" dt="2026-05-11T17:26:21.123" v="3871" actId="1076"/>
          <ac:cxnSpMkLst>
            <pc:docMk/>
            <pc:sldMk cId="1993878196" sldId="2147483643"/>
            <ac:cxnSpMk id="24" creationId="{B51D4212-8E9C-23EF-C880-090726D84DB0}"/>
          </ac:cxnSpMkLst>
        </pc:cxnChg>
        <pc:cxnChg chg="del">
          <ac:chgData name="Kuzman, Drago" userId="f0e54a4a-ef23-4504-ad0b-735a5dc6daea" providerId="ADAL" clId="{84A6FBFF-BA24-47B7-BD30-284AD6ECCBE0}" dt="2026-05-11T17:26:39.604" v="3876" actId="478"/>
          <ac:cxnSpMkLst>
            <pc:docMk/>
            <pc:sldMk cId="1993878196" sldId="2147483643"/>
            <ac:cxnSpMk id="25" creationId="{4707E9EF-DF6B-438D-CC8B-3CA0CE429439}"/>
          </ac:cxnSpMkLst>
        </pc:cxnChg>
        <pc:cxnChg chg="add mod">
          <ac:chgData name="Kuzman, Drago" userId="f0e54a4a-ef23-4504-ad0b-735a5dc6daea" providerId="ADAL" clId="{84A6FBFF-BA24-47B7-BD30-284AD6ECCBE0}" dt="2026-05-10T07:59:51.105" v="855" actId="1076"/>
          <ac:cxnSpMkLst>
            <pc:docMk/>
            <pc:sldMk cId="1993878196" sldId="2147483643"/>
            <ac:cxnSpMk id="35" creationId="{E6E8F429-B00D-F4B2-2DEF-1F3E3D2E9BC5}"/>
          </ac:cxnSpMkLst>
        </pc:cxnChg>
        <pc:cxnChg chg="mod">
          <ac:chgData name="Kuzman, Drago" userId="f0e54a4a-ef23-4504-ad0b-735a5dc6daea" providerId="ADAL" clId="{84A6FBFF-BA24-47B7-BD30-284AD6ECCBE0}" dt="2026-05-10T07:59:40.018" v="854"/>
          <ac:cxnSpMkLst>
            <pc:docMk/>
            <pc:sldMk cId="1993878196" sldId="2147483643"/>
            <ac:cxnSpMk id="37" creationId="{71E06B92-282B-5AE4-21F8-ADBABBD3046D}"/>
          </ac:cxnSpMkLst>
        </pc:cxnChg>
        <pc:cxnChg chg="mod">
          <ac:chgData name="Kuzman, Drago" userId="f0e54a4a-ef23-4504-ad0b-735a5dc6daea" providerId="ADAL" clId="{84A6FBFF-BA24-47B7-BD30-284AD6ECCBE0}" dt="2026-05-10T07:59:40.018" v="854"/>
          <ac:cxnSpMkLst>
            <pc:docMk/>
            <pc:sldMk cId="1993878196" sldId="2147483643"/>
            <ac:cxnSpMk id="38" creationId="{662002DF-74FF-AFF5-A6A1-2831282FF95E}"/>
          </ac:cxnSpMkLst>
        </pc:cxnChg>
        <pc:cxnChg chg="add mod ord">
          <ac:chgData name="Kuzman, Drago" userId="f0e54a4a-ef23-4504-ad0b-735a5dc6daea" providerId="ADAL" clId="{84A6FBFF-BA24-47B7-BD30-284AD6ECCBE0}" dt="2026-05-10T08:19:43.953" v="1117" actId="167"/>
          <ac:cxnSpMkLst>
            <pc:docMk/>
            <pc:sldMk cId="1993878196" sldId="2147483643"/>
            <ac:cxnSpMk id="45" creationId="{EB74F9A6-29DB-3944-C958-B678C72AADC8}"/>
          </ac:cxnSpMkLst>
        </pc:cxnChg>
        <pc:cxnChg chg="add mod">
          <ac:chgData name="Kuzman, Drago" userId="f0e54a4a-ef23-4504-ad0b-735a5dc6daea" providerId="ADAL" clId="{84A6FBFF-BA24-47B7-BD30-284AD6ECCBE0}" dt="2026-05-11T17:26:50.419" v="3879" actId="14100"/>
          <ac:cxnSpMkLst>
            <pc:docMk/>
            <pc:sldMk cId="1993878196" sldId="2147483643"/>
            <ac:cxnSpMk id="59" creationId="{72BBCA9C-AF48-8B2A-C5FE-C8A94FA40BE4}"/>
          </ac:cxnSpMkLst>
        </pc:cxnChg>
        <pc:cxnChg chg="add mod">
          <ac:chgData name="Kuzman, Drago" userId="f0e54a4a-ef23-4504-ad0b-735a5dc6daea" providerId="ADAL" clId="{84A6FBFF-BA24-47B7-BD30-284AD6ECCBE0}" dt="2026-05-10T08:18:03.065" v="1099" actId="1076"/>
          <ac:cxnSpMkLst>
            <pc:docMk/>
            <pc:sldMk cId="1993878196" sldId="2147483643"/>
            <ac:cxnSpMk id="61" creationId="{A1E1A944-691F-C878-9704-BCD79ACC3A49}"/>
          </ac:cxnSpMkLst>
        </pc:cxnChg>
        <pc:cxnChg chg="add mod">
          <ac:chgData name="Kuzman, Drago" userId="f0e54a4a-ef23-4504-ad0b-735a5dc6daea" providerId="ADAL" clId="{84A6FBFF-BA24-47B7-BD30-284AD6ECCBE0}" dt="2026-05-10T08:18:11.012" v="1101" actId="1076"/>
          <ac:cxnSpMkLst>
            <pc:docMk/>
            <pc:sldMk cId="1993878196" sldId="2147483643"/>
            <ac:cxnSpMk id="63" creationId="{1893ADE8-BD61-E8E7-484A-FD05A2ADCCA4}"/>
          </ac:cxnSpMkLst>
        </pc:cxnChg>
        <pc:cxnChg chg="ord">
          <ac:chgData name="Kuzman, Drago" userId="f0e54a4a-ef23-4504-ad0b-735a5dc6daea" providerId="ADAL" clId="{84A6FBFF-BA24-47B7-BD30-284AD6ECCBE0}" dt="2026-05-10T08:19:49.135" v="1118" actId="167"/>
          <ac:cxnSpMkLst>
            <pc:docMk/>
            <pc:sldMk cId="1993878196" sldId="2147483643"/>
            <ac:cxnSpMk id="82" creationId="{4CD3C0F6-29B0-726D-2542-D885FE2440DA}"/>
          </ac:cxnSpMkLst>
        </pc:cxnChg>
        <pc:cxnChg chg="mod">
          <ac:chgData name="Kuzman, Drago" userId="f0e54a4a-ef23-4504-ad0b-735a5dc6daea" providerId="ADAL" clId="{84A6FBFF-BA24-47B7-BD30-284AD6ECCBE0}" dt="2026-05-10T08:20:17.096" v="1121" actId="14100"/>
          <ac:cxnSpMkLst>
            <pc:docMk/>
            <pc:sldMk cId="1993878196" sldId="2147483643"/>
            <ac:cxnSpMk id="84" creationId="{75F62EA1-C84F-8EE6-4CDB-E1F3009BFAAA}"/>
          </ac:cxnSpMkLst>
        </pc:cxnChg>
        <pc:cxnChg chg="mod">
          <ac:chgData name="Kuzman, Drago" userId="f0e54a4a-ef23-4504-ad0b-735a5dc6daea" providerId="ADAL" clId="{84A6FBFF-BA24-47B7-BD30-284AD6ECCBE0}" dt="2026-05-10T08:19:22.192" v="1113" actId="1076"/>
          <ac:cxnSpMkLst>
            <pc:docMk/>
            <pc:sldMk cId="1993878196" sldId="2147483643"/>
            <ac:cxnSpMk id="86" creationId="{D8F3A083-D8B2-3DFD-68C7-96241814DFC6}"/>
          </ac:cxnSpMkLst>
        </pc:cxnChg>
        <pc:cxnChg chg="add mod ord">
          <ac:chgData name="Kuzman, Drago" userId="f0e54a4a-ef23-4504-ad0b-735a5dc6daea" providerId="ADAL" clId="{84A6FBFF-BA24-47B7-BD30-284AD6ECCBE0}" dt="2026-05-10T08:20:56.134" v="1128" actId="208"/>
          <ac:cxnSpMkLst>
            <pc:docMk/>
            <pc:sldMk cId="1993878196" sldId="2147483643"/>
            <ac:cxnSpMk id="89" creationId="{56F617C4-49DD-00C5-5ACE-97077D2F63CB}"/>
          </ac:cxnSpMkLst>
        </pc:cxnChg>
        <pc:cxnChg chg="add mod">
          <ac:chgData name="Kuzman, Drago" userId="f0e54a4a-ef23-4504-ad0b-735a5dc6daea" providerId="ADAL" clId="{84A6FBFF-BA24-47B7-BD30-284AD6ECCBE0}" dt="2026-05-10T08:20:27.715" v="1123" actId="1076"/>
          <ac:cxnSpMkLst>
            <pc:docMk/>
            <pc:sldMk cId="1993878196" sldId="2147483643"/>
            <ac:cxnSpMk id="94" creationId="{3270639C-E21E-870E-56C9-8E8C72886104}"/>
          </ac:cxnSpMkLst>
        </pc:cxnChg>
      </pc:sldChg>
      <pc:sldChg chg="addSp delSp modSp add mod">
        <pc:chgData name="Kuzman, Drago" userId="f0e54a4a-ef23-4504-ad0b-735a5dc6daea" providerId="ADAL" clId="{84A6FBFF-BA24-47B7-BD30-284AD6ECCBE0}" dt="2026-05-11T16:32:36.336" v="3346" actId="122"/>
        <pc:sldMkLst>
          <pc:docMk/>
          <pc:sldMk cId="2799374975" sldId="2147483644"/>
        </pc:sldMkLst>
        <pc:spChg chg="mod">
          <ac:chgData name="Kuzman, Drago" userId="f0e54a4a-ef23-4504-ad0b-735a5dc6daea" providerId="ADAL" clId="{84A6FBFF-BA24-47B7-BD30-284AD6ECCBE0}" dt="2026-05-11T16:26:49.758" v="3318" actId="20577"/>
          <ac:spMkLst>
            <pc:docMk/>
            <pc:sldMk cId="2799374975" sldId="2147483644"/>
            <ac:spMk id="2" creationId="{F690A2CC-4D97-71AB-7270-0757E500D705}"/>
          </ac:spMkLst>
        </pc:spChg>
        <pc:spChg chg="mod">
          <ac:chgData name="Kuzman, Drago" userId="f0e54a4a-ef23-4504-ad0b-735a5dc6daea" providerId="ADAL" clId="{84A6FBFF-BA24-47B7-BD30-284AD6ECCBE0}" dt="2026-05-10T08:28:06.175" v="1247" actId="14100"/>
          <ac:spMkLst>
            <pc:docMk/>
            <pc:sldMk cId="2799374975" sldId="2147483644"/>
            <ac:spMk id="9" creationId="{1D6B7D76-773B-CF27-4806-13F48DE12C68}"/>
          </ac:spMkLst>
        </pc:spChg>
        <pc:spChg chg="mod">
          <ac:chgData name="Kuzman, Drago" userId="f0e54a4a-ef23-4504-ad0b-735a5dc6daea" providerId="ADAL" clId="{84A6FBFF-BA24-47B7-BD30-284AD6ECCBE0}" dt="2026-05-10T08:28:02.269" v="1246" actId="1076"/>
          <ac:spMkLst>
            <pc:docMk/>
            <pc:sldMk cId="2799374975" sldId="2147483644"/>
            <ac:spMk id="10" creationId="{B9E0D966-7719-A382-CF59-020069182CC6}"/>
          </ac:spMkLst>
        </pc:spChg>
        <pc:spChg chg="add mod">
          <ac:chgData name="Kuzman, Drago" userId="f0e54a4a-ef23-4504-ad0b-735a5dc6daea" providerId="ADAL" clId="{84A6FBFF-BA24-47B7-BD30-284AD6ECCBE0}" dt="2026-05-10T08:38:43.339" v="1517" actId="6549"/>
          <ac:spMkLst>
            <pc:docMk/>
            <pc:sldMk cId="2799374975" sldId="2147483644"/>
            <ac:spMk id="20" creationId="{B0C3CE50-CEEE-AC8F-9AB4-80FAA4478CA4}"/>
          </ac:spMkLst>
        </pc:spChg>
        <pc:spChg chg="add mod">
          <ac:chgData name="Kuzman, Drago" userId="f0e54a4a-ef23-4504-ad0b-735a5dc6daea" providerId="ADAL" clId="{84A6FBFF-BA24-47B7-BD30-284AD6ECCBE0}" dt="2026-05-10T08:43:50.198" v="1566" actId="20577"/>
          <ac:spMkLst>
            <pc:docMk/>
            <pc:sldMk cId="2799374975" sldId="2147483644"/>
            <ac:spMk id="21" creationId="{B1B51D7A-00CA-BCF6-B5A6-5D82C40283C5}"/>
          </ac:spMkLst>
        </pc:spChg>
        <pc:spChg chg="mod">
          <ac:chgData name="Kuzman, Drago" userId="f0e54a4a-ef23-4504-ad0b-735a5dc6daea" providerId="ADAL" clId="{84A6FBFF-BA24-47B7-BD30-284AD6ECCBE0}" dt="2026-05-10T08:30:20.214" v="1323"/>
          <ac:spMkLst>
            <pc:docMk/>
            <pc:sldMk cId="2799374975" sldId="2147483644"/>
            <ac:spMk id="28" creationId="{A4BAB147-AFB2-83E9-B90E-F4280FD5797C}"/>
          </ac:spMkLst>
        </pc:spChg>
        <pc:spChg chg="mod">
          <ac:chgData name="Kuzman, Drago" userId="f0e54a4a-ef23-4504-ad0b-735a5dc6daea" providerId="ADAL" clId="{84A6FBFF-BA24-47B7-BD30-284AD6ECCBE0}" dt="2026-05-10T08:30:20.214" v="1323"/>
          <ac:spMkLst>
            <pc:docMk/>
            <pc:sldMk cId="2799374975" sldId="2147483644"/>
            <ac:spMk id="29" creationId="{451C8D8A-D2D9-7199-2C1A-E243382EFD63}"/>
          </ac:spMkLst>
        </pc:spChg>
        <pc:spChg chg="add mod">
          <ac:chgData name="Kuzman, Drago" userId="f0e54a4a-ef23-4504-ad0b-735a5dc6daea" providerId="ADAL" clId="{84A6FBFF-BA24-47B7-BD30-284AD6ECCBE0}" dt="2026-05-10T08:44:43.365" v="1571" actId="1076"/>
          <ac:spMkLst>
            <pc:docMk/>
            <pc:sldMk cId="2799374975" sldId="2147483644"/>
            <ac:spMk id="30" creationId="{3A3A37BC-F50B-6FD8-E727-EAD96ACDBC93}"/>
          </ac:spMkLst>
        </pc:spChg>
        <pc:spChg chg="add mod">
          <ac:chgData name="Kuzman, Drago" userId="f0e54a4a-ef23-4504-ad0b-735a5dc6daea" providerId="ADAL" clId="{84A6FBFF-BA24-47B7-BD30-284AD6ECCBE0}" dt="2026-05-10T08:38:50.749" v="1519" actId="6549"/>
          <ac:spMkLst>
            <pc:docMk/>
            <pc:sldMk cId="2799374975" sldId="2147483644"/>
            <ac:spMk id="46" creationId="{2FCFC8CB-EC89-EC66-8AB7-C8440B8E42C1}"/>
          </ac:spMkLst>
        </pc:spChg>
        <pc:spChg chg="add mod">
          <ac:chgData name="Kuzman, Drago" userId="f0e54a4a-ef23-4504-ad0b-735a5dc6daea" providerId="ADAL" clId="{84A6FBFF-BA24-47B7-BD30-284AD6ECCBE0}" dt="2026-05-10T08:39:14.650" v="1528" actId="207"/>
          <ac:spMkLst>
            <pc:docMk/>
            <pc:sldMk cId="2799374975" sldId="2147483644"/>
            <ac:spMk id="47" creationId="{44AD4173-E6C1-230D-E472-0A5EE1E749FB}"/>
          </ac:spMkLst>
        </pc:spChg>
        <pc:spChg chg="add mod">
          <ac:chgData name="Kuzman, Drago" userId="f0e54a4a-ef23-4504-ad0b-735a5dc6daea" providerId="ADAL" clId="{84A6FBFF-BA24-47B7-BD30-284AD6ECCBE0}" dt="2026-05-10T08:44:25.617" v="1570" actId="6549"/>
          <ac:spMkLst>
            <pc:docMk/>
            <pc:sldMk cId="2799374975" sldId="2147483644"/>
            <ac:spMk id="48" creationId="{82EAAEF7-8567-C311-EDEB-B1BC94E21A28}"/>
          </ac:spMkLst>
        </pc:spChg>
        <pc:spChg chg="add mod">
          <ac:chgData name="Kuzman, Drago" userId="f0e54a4a-ef23-4504-ad0b-735a5dc6daea" providerId="ADAL" clId="{84A6FBFF-BA24-47B7-BD30-284AD6ECCBE0}" dt="2026-05-11T16:32:36.336" v="3346" actId="122"/>
          <ac:spMkLst>
            <pc:docMk/>
            <pc:sldMk cId="2799374975" sldId="2147483644"/>
            <ac:spMk id="49" creationId="{0E7567F3-5C4D-97DD-65D8-FBE40B0392B6}"/>
          </ac:spMkLst>
        </pc:spChg>
        <pc:spChg chg="mod">
          <ac:chgData name="Kuzman, Drago" userId="f0e54a4a-ef23-4504-ad0b-735a5dc6daea" providerId="ADAL" clId="{84A6FBFF-BA24-47B7-BD30-284AD6ECCBE0}" dt="2026-05-10T08:39:58.444" v="1535"/>
          <ac:spMkLst>
            <pc:docMk/>
            <pc:sldMk cId="2799374975" sldId="2147483644"/>
            <ac:spMk id="53" creationId="{9ECD1ADA-C253-4A40-4242-DF305BB89417}"/>
          </ac:spMkLst>
        </pc:spChg>
        <pc:spChg chg="mod">
          <ac:chgData name="Kuzman, Drago" userId="f0e54a4a-ef23-4504-ad0b-735a5dc6daea" providerId="ADAL" clId="{84A6FBFF-BA24-47B7-BD30-284AD6ECCBE0}" dt="2026-05-10T08:39:58.444" v="1535"/>
          <ac:spMkLst>
            <pc:docMk/>
            <pc:sldMk cId="2799374975" sldId="2147483644"/>
            <ac:spMk id="56" creationId="{FC370EB7-BEAF-41AB-F17D-919C49E1CA90}"/>
          </ac:spMkLst>
        </pc:spChg>
        <pc:spChg chg="add mod">
          <ac:chgData name="Kuzman, Drago" userId="f0e54a4a-ef23-4504-ad0b-735a5dc6daea" providerId="ADAL" clId="{84A6FBFF-BA24-47B7-BD30-284AD6ECCBE0}" dt="2026-05-10T08:41:27.237" v="1549" actId="1076"/>
          <ac:spMkLst>
            <pc:docMk/>
            <pc:sldMk cId="2799374975" sldId="2147483644"/>
            <ac:spMk id="57" creationId="{E5F19746-EE07-CF1D-3911-9AE09FC646B1}"/>
          </ac:spMkLst>
        </pc:spChg>
        <pc:spChg chg="add mod">
          <ac:chgData name="Kuzman, Drago" userId="f0e54a4a-ef23-4504-ad0b-735a5dc6daea" providerId="ADAL" clId="{84A6FBFF-BA24-47B7-BD30-284AD6ECCBE0}" dt="2026-05-10T08:41:48.704" v="1559" actId="1038"/>
          <ac:spMkLst>
            <pc:docMk/>
            <pc:sldMk cId="2799374975" sldId="2147483644"/>
            <ac:spMk id="58" creationId="{69C2E61D-3C5B-F908-C858-A4298E653DBF}"/>
          </ac:spMkLst>
        </pc:spChg>
        <pc:spChg chg="add mod">
          <ac:chgData name="Kuzman, Drago" userId="f0e54a4a-ef23-4504-ad0b-735a5dc6daea" providerId="ADAL" clId="{84A6FBFF-BA24-47B7-BD30-284AD6ECCBE0}" dt="2026-05-10T08:49:03.363" v="1583" actId="1076"/>
          <ac:spMkLst>
            <pc:docMk/>
            <pc:sldMk cId="2799374975" sldId="2147483644"/>
            <ac:spMk id="62" creationId="{797DB77D-5C9A-874B-16E3-C2A03F3DE37B}"/>
          </ac:spMkLst>
        </pc:spChg>
        <pc:grpChg chg="add mod">
          <ac:chgData name="Kuzman, Drago" userId="f0e54a4a-ef23-4504-ad0b-735a5dc6daea" providerId="ADAL" clId="{84A6FBFF-BA24-47B7-BD30-284AD6ECCBE0}" dt="2026-05-10T08:27:49.201" v="1244" actId="14100"/>
          <ac:grpSpMkLst>
            <pc:docMk/>
            <pc:sldMk cId="2799374975" sldId="2147483644"/>
            <ac:grpSpMk id="5" creationId="{13ADF396-ED01-08E0-65E6-CF607750E383}"/>
          </ac:grpSpMkLst>
        </pc:grpChg>
        <pc:grpChg chg="add mod">
          <ac:chgData name="Kuzman, Drago" userId="f0e54a4a-ef23-4504-ad0b-735a5dc6daea" providerId="ADAL" clId="{84A6FBFF-BA24-47B7-BD30-284AD6ECCBE0}" dt="2026-05-10T08:30:25.556" v="1324" actId="1076"/>
          <ac:grpSpMkLst>
            <pc:docMk/>
            <pc:sldMk cId="2799374975" sldId="2147483644"/>
            <ac:grpSpMk id="24" creationId="{6F41F044-D06C-A315-57AD-113E80BF8F65}"/>
          </ac:grpSpMkLst>
        </pc:grpChg>
        <pc:grpChg chg="add mod">
          <ac:chgData name="Kuzman, Drago" userId="f0e54a4a-ef23-4504-ad0b-735a5dc6daea" providerId="ADAL" clId="{84A6FBFF-BA24-47B7-BD30-284AD6ECCBE0}" dt="2026-05-10T08:40:07.967" v="1536" actId="1076"/>
          <ac:grpSpMkLst>
            <pc:docMk/>
            <pc:sldMk cId="2799374975" sldId="2147483644"/>
            <ac:grpSpMk id="50" creationId="{433BDE63-D6EB-1E3C-D7AF-BB67F3E59F64}"/>
          </ac:grpSpMkLst>
        </pc:grpChg>
        <pc:cxnChg chg="add mod">
          <ac:chgData name="Kuzman, Drago" userId="f0e54a4a-ef23-4504-ad0b-735a5dc6daea" providerId="ADAL" clId="{84A6FBFF-BA24-47B7-BD30-284AD6ECCBE0}" dt="2026-05-10T08:43:47.029" v="1565" actId="14100"/>
          <ac:cxnSpMkLst>
            <pc:docMk/>
            <pc:sldMk cId="2799374975" sldId="2147483644"/>
            <ac:cxnSpMk id="3" creationId="{D6CF503A-6BC8-1E42-156B-35CD3861CF1B}"/>
          </ac:cxnSpMkLst>
        </pc:cxnChg>
        <pc:cxnChg chg="mod">
          <ac:chgData name="Kuzman, Drago" userId="f0e54a4a-ef23-4504-ad0b-735a5dc6daea" providerId="ADAL" clId="{84A6FBFF-BA24-47B7-BD30-284AD6ECCBE0}" dt="2026-05-10T08:27:10.236" v="1236"/>
          <ac:cxnSpMkLst>
            <pc:docMk/>
            <pc:sldMk cId="2799374975" sldId="2147483644"/>
            <ac:cxnSpMk id="7" creationId="{2C68179F-43DC-0A12-6020-6D9DCA32F420}"/>
          </ac:cxnSpMkLst>
        </pc:cxnChg>
        <pc:cxnChg chg="mod">
          <ac:chgData name="Kuzman, Drago" userId="f0e54a4a-ef23-4504-ad0b-735a5dc6daea" providerId="ADAL" clId="{84A6FBFF-BA24-47B7-BD30-284AD6ECCBE0}" dt="2026-05-10T08:27:10.236" v="1236"/>
          <ac:cxnSpMkLst>
            <pc:docMk/>
            <pc:sldMk cId="2799374975" sldId="2147483644"/>
            <ac:cxnSpMk id="8" creationId="{E3DB9E02-4D62-F651-7173-762384F44EFB}"/>
          </ac:cxnSpMkLst>
        </pc:cxnChg>
        <pc:cxnChg chg="mod">
          <ac:chgData name="Kuzman, Drago" userId="f0e54a4a-ef23-4504-ad0b-735a5dc6daea" providerId="ADAL" clId="{84A6FBFF-BA24-47B7-BD30-284AD6ECCBE0}" dt="2026-05-10T08:30:20.214" v="1323"/>
          <ac:cxnSpMkLst>
            <pc:docMk/>
            <pc:sldMk cId="2799374975" sldId="2147483644"/>
            <ac:cxnSpMk id="25" creationId="{47D2A76F-EAE2-9764-C454-77DEE8A9093C}"/>
          </ac:cxnSpMkLst>
        </pc:cxnChg>
        <pc:cxnChg chg="mod">
          <ac:chgData name="Kuzman, Drago" userId="f0e54a4a-ef23-4504-ad0b-735a5dc6daea" providerId="ADAL" clId="{84A6FBFF-BA24-47B7-BD30-284AD6ECCBE0}" dt="2026-05-10T08:30:20.214" v="1323"/>
          <ac:cxnSpMkLst>
            <pc:docMk/>
            <pc:sldMk cId="2799374975" sldId="2147483644"/>
            <ac:cxnSpMk id="26" creationId="{0C6AE664-6DB0-3D89-12A6-0383F66EFE0E}"/>
          </ac:cxnSpMkLst>
        </pc:cxnChg>
        <pc:cxnChg chg="mod">
          <ac:chgData name="Kuzman, Drago" userId="f0e54a4a-ef23-4504-ad0b-735a5dc6daea" providerId="ADAL" clId="{84A6FBFF-BA24-47B7-BD30-284AD6ECCBE0}" dt="2026-05-10T08:39:58.444" v="1535"/>
          <ac:cxnSpMkLst>
            <pc:docMk/>
            <pc:sldMk cId="2799374975" sldId="2147483644"/>
            <ac:cxnSpMk id="51" creationId="{71EA44AA-1A93-4114-E560-0E213607B0EE}"/>
          </ac:cxnSpMkLst>
        </pc:cxnChg>
        <pc:cxnChg chg="mod">
          <ac:chgData name="Kuzman, Drago" userId="f0e54a4a-ef23-4504-ad0b-735a5dc6daea" providerId="ADAL" clId="{84A6FBFF-BA24-47B7-BD30-284AD6ECCBE0}" dt="2026-05-10T08:39:58.444" v="1535"/>
          <ac:cxnSpMkLst>
            <pc:docMk/>
            <pc:sldMk cId="2799374975" sldId="2147483644"/>
            <ac:cxnSpMk id="52" creationId="{F11EA3F3-3132-DB7D-C511-FCC91163DBE1}"/>
          </ac:cxnSpMkLst>
        </pc:cxnChg>
      </pc:sldChg>
      <pc:sldChg chg="addSp delSp modSp new mod">
        <pc:chgData name="Kuzman, Drago" userId="f0e54a4a-ef23-4504-ad0b-735a5dc6daea" providerId="ADAL" clId="{84A6FBFF-BA24-47B7-BD30-284AD6ECCBE0}" dt="2026-05-11T16:57:06.003" v="3729" actId="1076"/>
        <pc:sldMkLst>
          <pc:docMk/>
          <pc:sldMk cId="192817845" sldId="2147483645"/>
        </pc:sldMkLst>
        <pc:spChg chg="mod">
          <ac:chgData name="Kuzman, Drago" userId="f0e54a4a-ef23-4504-ad0b-735a5dc6daea" providerId="ADAL" clId="{84A6FBFF-BA24-47B7-BD30-284AD6ECCBE0}" dt="2026-05-10T09:10:51.364" v="2133" actId="20577"/>
          <ac:spMkLst>
            <pc:docMk/>
            <pc:sldMk cId="192817845" sldId="2147483645"/>
            <ac:spMk id="2" creationId="{43FEFAC8-BE4E-FFEC-D3F5-ABBC96B0486B}"/>
          </ac:spMkLst>
        </pc:spChg>
        <pc:spChg chg="add mod">
          <ac:chgData name="Kuzman, Drago" userId="f0e54a4a-ef23-4504-ad0b-735a5dc6daea" providerId="ADAL" clId="{84A6FBFF-BA24-47B7-BD30-284AD6ECCBE0}" dt="2026-05-11T16:57:06.003" v="3729" actId="1076"/>
          <ac:spMkLst>
            <pc:docMk/>
            <pc:sldMk cId="192817845" sldId="2147483645"/>
            <ac:spMk id="5" creationId="{87A704E0-238A-AF58-51E6-43198FBE6CD1}"/>
          </ac:spMkLst>
        </pc:spChg>
        <pc:spChg chg="add mod">
          <ac:chgData name="Kuzman, Drago" userId="f0e54a4a-ef23-4504-ad0b-735a5dc6daea" providerId="ADAL" clId="{84A6FBFF-BA24-47B7-BD30-284AD6ECCBE0}" dt="2026-05-11T16:56:51.290" v="3727" actId="164"/>
          <ac:spMkLst>
            <pc:docMk/>
            <pc:sldMk cId="192817845" sldId="2147483645"/>
            <ac:spMk id="6" creationId="{AD57C6E4-3454-9A1A-00AB-A05726539486}"/>
          </ac:spMkLst>
        </pc:spChg>
        <pc:spChg chg="add mod">
          <ac:chgData name="Kuzman, Drago" userId="f0e54a4a-ef23-4504-ad0b-735a5dc6daea" providerId="ADAL" clId="{84A6FBFF-BA24-47B7-BD30-284AD6ECCBE0}" dt="2026-05-11T16:56:51.290" v="3727" actId="164"/>
          <ac:spMkLst>
            <pc:docMk/>
            <pc:sldMk cId="192817845" sldId="2147483645"/>
            <ac:spMk id="7" creationId="{1C6163CA-DB1C-CEEB-0644-945C37BBA66B}"/>
          </ac:spMkLst>
        </pc:spChg>
        <pc:spChg chg="add del mod">
          <ac:chgData name="Kuzman, Drago" userId="f0e54a4a-ef23-4504-ad0b-735a5dc6daea" providerId="ADAL" clId="{84A6FBFF-BA24-47B7-BD30-284AD6ECCBE0}" dt="2026-05-11T16:56:36.276" v="3724" actId="478"/>
          <ac:spMkLst>
            <pc:docMk/>
            <pc:sldMk cId="192817845" sldId="2147483645"/>
            <ac:spMk id="8" creationId="{7754F3C0-B583-537E-AE0E-08479C2C0DCF}"/>
          </ac:spMkLst>
        </pc:spChg>
        <pc:spChg chg="add del mod">
          <ac:chgData name="Kuzman, Drago" userId="f0e54a4a-ef23-4504-ad0b-735a5dc6daea" providerId="ADAL" clId="{84A6FBFF-BA24-47B7-BD30-284AD6ECCBE0}" dt="2026-05-11T16:56:36.276" v="3724" actId="478"/>
          <ac:spMkLst>
            <pc:docMk/>
            <pc:sldMk cId="192817845" sldId="2147483645"/>
            <ac:spMk id="9" creationId="{BB2FE09B-A93D-96AD-5901-473BD8B0D2B1}"/>
          </ac:spMkLst>
        </pc:spChg>
        <pc:spChg chg="add del mod ord">
          <ac:chgData name="Kuzman, Drago" userId="f0e54a4a-ef23-4504-ad0b-735a5dc6daea" providerId="ADAL" clId="{84A6FBFF-BA24-47B7-BD30-284AD6ECCBE0}" dt="2026-05-11T16:56:36.276" v="3724" actId="478"/>
          <ac:spMkLst>
            <pc:docMk/>
            <pc:sldMk cId="192817845" sldId="2147483645"/>
            <ac:spMk id="10" creationId="{FFFAD0CA-65CE-D46A-BBDD-79BCDF90F83B}"/>
          </ac:spMkLst>
        </pc:spChg>
        <pc:grpChg chg="add mod">
          <ac:chgData name="Kuzman, Drago" userId="f0e54a4a-ef23-4504-ad0b-735a5dc6daea" providerId="ADAL" clId="{84A6FBFF-BA24-47B7-BD30-284AD6ECCBE0}" dt="2026-05-11T16:56:56.477" v="3728" actId="1076"/>
          <ac:grpSpMkLst>
            <pc:docMk/>
            <pc:sldMk cId="192817845" sldId="2147483645"/>
            <ac:grpSpMk id="11" creationId="{CC035A16-0AE3-73EB-F480-77EE5BF4478D}"/>
          </ac:grpSpMkLst>
        </pc:grpChg>
        <pc:picChg chg="add mod">
          <ac:chgData name="Kuzman, Drago" userId="f0e54a4a-ef23-4504-ad0b-735a5dc6daea" providerId="ADAL" clId="{84A6FBFF-BA24-47B7-BD30-284AD6ECCBE0}" dt="2026-05-11T16:56:51.290" v="3727" actId="164"/>
          <ac:picMkLst>
            <pc:docMk/>
            <pc:sldMk cId="192817845" sldId="2147483645"/>
            <ac:picMk id="4" creationId="{91D995B0-2932-13F6-E73C-E2C689A717A9}"/>
          </ac:picMkLst>
        </pc:picChg>
      </pc:sldChg>
      <pc:sldChg chg="modSp new mod">
        <pc:chgData name="Kuzman, Drago" userId="f0e54a4a-ef23-4504-ad0b-735a5dc6daea" providerId="ADAL" clId="{84A6FBFF-BA24-47B7-BD30-284AD6ECCBE0}" dt="2026-05-12T07:00:59.475" v="5103" actId="14100"/>
        <pc:sldMkLst>
          <pc:docMk/>
          <pc:sldMk cId="2849686023" sldId="2147483646"/>
        </pc:sldMkLst>
        <pc:spChg chg="mod">
          <ac:chgData name="Kuzman, Drago" userId="f0e54a4a-ef23-4504-ad0b-735a5dc6daea" providerId="ADAL" clId="{84A6FBFF-BA24-47B7-BD30-284AD6ECCBE0}" dt="2026-05-10T10:40:10.057" v="3277" actId="20577"/>
          <ac:spMkLst>
            <pc:docMk/>
            <pc:sldMk cId="2849686023" sldId="2147483646"/>
            <ac:spMk id="2" creationId="{9E665E0B-C3FA-4FC5-3303-B5F3A0432637}"/>
          </ac:spMkLst>
        </pc:spChg>
        <pc:spChg chg="mod">
          <ac:chgData name="Kuzman, Drago" userId="f0e54a4a-ef23-4504-ad0b-735a5dc6daea" providerId="ADAL" clId="{84A6FBFF-BA24-47B7-BD30-284AD6ECCBE0}" dt="2026-05-12T07:00:59.475" v="5103" actId="14100"/>
          <ac:spMkLst>
            <pc:docMk/>
            <pc:sldMk cId="2849686023" sldId="2147483646"/>
            <ac:spMk id="3" creationId="{43E29474-3F68-FC25-12D8-24D88CD64C8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7836AB-7A71-9C59-1569-F6D368DE69E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024844" y="8661357"/>
            <a:ext cx="3888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r>
              <a:rPr lang="en-US" sz="800"/>
              <a:t>Placeholder for the presentation title  |  Date (Insert → header and footer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3F12FE-E6B8-CB03-BD6F-A6DD226A74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093296" y="8661357"/>
            <a:ext cx="28803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8B0EA715-5C52-46A6-AB3C-9DAA4D99E51E}" type="slidenum">
              <a:rPr lang="en-US" sz="800" smtClean="0"/>
              <a:t>‹#›</a:t>
            </a:fld>
            <a:endParaRPr lang="en-US" sz="80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79C3954B-1D5A-DF7E-F38E-E6C429FEE87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476672" y="8613344"/>
            <a:ext cx="1044116" cy="15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90745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024844" y="8661357"/>
            <a:ext cx="3888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/>
            </a:lvl1pPr>
          </a:lstStyle>
          <a:p>
            <a:r>
              <a:rPr lang="en-US" sz="800"/>
              <a:t>Placeholder for the presentation title  |  Date (Insert → header and footer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93296" y="8661357"/>
            <a:ext cx="28803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/>
            </a:lvl1pPr>
          </a:lstStyle>
          <a:p>
            <a:fld id="{CC452610-1F1A-48BB-81B3-3167D77B5272}" type="slidenum">
              <a:rPr lang="en-US" smtClean="0"/>
              <a:pPr/>
              <a:t>‹#›</a:t>
            </a:fld>
            <a:endParaRPr lang="en-US" sz="80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B71D4F93-CCDA-E557-C904-D46A56B097F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476672" y="8613344"/>
            <a:ext cx="1044116" cy="15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393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j-lt"/>
        <a:ea typeface="+mn-ea"/>
        <a:cs typeface="+mn-cs"/>
      </a:defRPr>
    </a:lvl1pPr>
    <a:lvl2pPr marL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/>
              <a:t>Placeholder for the presentation title  |  Date (Insert → header and footer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452610-1F1A-48BB-81B3-3167D77B5272}" type="slidenum">
              <a:rPr lang="en-US" smtClean="0"/>
              <a:pPr/>
              <a:t>3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89016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921214-E832-274D-A515-2E1186F647F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300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sl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8521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/>
              <a:t>Placeholder for the presentation title  |  Date (Insert → header and footer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452610-1F1A-48BB-81B3-3167D77B5272}" type="slidenum">
              <a:rPr lang="en-US" smtClean="0"/>
              <a:pPr/>
              <a:t>10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42259624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184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4349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984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800"/>
              <a:t>Placeholder for the presentation title  |  Date (Insert → header and footer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452610-1F1A-48BB-81B3-3167D77B5272}" type="slidenum">
              <a:rPr lang="en-US" smtClean="0"/>
              <a:pPr/>
              <a:t>19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792708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Logo">
            <a:extLst>
              <a:ext uri="{FF2B5EF4-FFF2-40B4-BE49-F238E27FC236}">
                <a16:creationId xmlns:a16="http://schemas.microsoft.com/office/drawing/2014/main" id="{572B6447-BD74-E19F-F82F-B6AB6B813F3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251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26664"/>
            <a:ext cx="11088000" cy="914096"/>
          </a:xfrm>
        </p:spPr>
        <p:txBody>
          <a:bodyPr/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genda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80A9B968-2C0B-3E87-C3F8-5A609C6918B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47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 Section Divider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background">
            <a:extLst>
              <a:ext uri="{FF2B5EF4-FFF2-40B4-BE49-F238E27FC236}">
                <a16:creationId xmlns:a16="http://schemas.microsoft.com/office/drawing/2014/main" id="{95B531DC-EDFA-F406-F1A3-7CCD05D79506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83735" t="784" r="487" b="784"/>
          <a:stretch>
            <a:fillRect/>
          </a:stretch>
        </p:blipFill>
        <p:spPr bwMode="hidden">
          <a:xfrm>
            <a:off x="11641138" y="1"/>
            <a:ext cx="55518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5CC55B-C320-BCEE-F065-D9048F6029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512676"/>
            <a:ext cx="10440000" cy="2528962"/>
          </a:xfrm>
        </p:spPr>
        <p:txBody>
          <a:bodyPr anchor="t"/>
          <a:lstStyle>
            <a:lvl1pPr>
              <a:lnSpc>
                <a:spcPct val="83000"/>
              </a:lnSpc>
              <a:defRPr sz="6600"/>
            </a:lvl1pPr>
          </a:lstStyle>
          <a:p>
            <a:r>
              <a:rPr lang="en-US" noProof="0"/>
              <a:t>X. Click to edit section name (maximum three lines)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8656E0B2-AAD7-833E-F127-94C389D991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551384" y="3320988"/>
            <a:ext cx="10440000" cy="369332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1pPr>
            <a:lvl2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2pPr>
            <a:lvl3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3pPr>
            <a:lvl4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4pPr>
            <a:lvl5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5pPr>
            <a:lvl6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6pPr>
            <a:lvl7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7pPr>
            <a:lvl8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8pPr>
            <a:lvl9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optional subpoint(s)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5F7C4CC-8B8D-1C83-BF94-876E28A3522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270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2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 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5CC55B-C320-BCEE-F065-D9048F6029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512676"/>
            <a:ext cx="10440000" cy="2528962"/>
          </a:xfrm>
        </p:spPr>
        <p:txBody>
          <a:bodyPr anchor="t"/>
          <a:lstStyle>
            <a:lvl1pPr>
              <a:lnSpc>
                <a:spcPct val="83000"/>
              </a:lnSpc>
              <a:defRPr sz="6600"/>
            </a:lvl1pPr>
          </a:lstStyle>
          <a:p>
            <a:r>
              <a:rPr lang="en-US" noProof="0"/>
              <a:t>X. Click to edit section name (maximum three lines)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8656E0B2-AAD7-833E-F127-94C389D991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551384" y="3320988"/>
            <a:ext cx="10440000" cy="369332"/>
          </a:xfrm>
          <a:prstGeom prst="rect">
            <a:avLst/>
          </a:prstGeom>
        </p:spPr>
        <p:txBody>
          <a:bodyPr>
            <a:spAutoFit/>
          </a:bodyPr>
          <a:lstStyle>
            <a:lvl1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1pPr>
            <a:lvl2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2pPr>
            <a:lvl3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3pPr>
            <a:lvl4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4pPr>
            <a:lvl5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5pPr>
            <a:lvl6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6pPr>
            <a:lvl7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7pPr>
            <a:lvl8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8pPr>
            <a:lvl9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optional subpoint(s)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5F7C4CC-8B8D-1C83-BF94-876E28A3522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319D055-168E-C9A6-4B8C-59B80F8FA4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90878"/>
          <a:stretch>
            <a:fillRect/>
          </a:stretch>
        </p:blipFill>
        <p:spPr>
          <a:xfrm flipH="1">
            <a:off x="11641138" y="0"/>
            <a:ext cx="5582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47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2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Section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5CC55B-C320-BCEE-F065-D9048F6029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512676"/>
            <a:ext cx="4926549" cy="2528962"/>
          </a:xfrm>
        </p:spPr>
        <p:txBody>
          <a:bodyPr anchor="t"/>
          <a:lstStyle>
            <a:lvl1pPr>
              <a:lnSpc>
                <a:spcPct val="83000"/>
              </a:lnSpc>
              <a:defRPr sz="6600"/>
            </a:lvl1pPr>
          </a:lstStyle>
          <a:p>
            <a:r>
              <a:rPr lang="en-US" noProof="0"/>
              <a:t>X. Section name (max. three lines)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8656E0B2-AAD7-833E-F127-94C389D991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551384" y="3593291"/>
            <a:ext cx="5072628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1pPr>
            <a:lvl2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2pPr>
            <a:lvl3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3pPr>
            <a:lvl4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4pPr>
            <a:lvl5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5pPr>
            <a:lvl6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6pPr>
            <a:lvl7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7pPr>
            <a:lvl8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8pPr>
            <a:lvl9pPr marL="216000" indent="-216000">
              <a:spcBef>
                <a:spcPts val="800"/>
              </a:spcBef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optional subpoint(s)</a:t>
            </a:r>
          </a:p>
        </p:txBody>
      </p:sp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4CA65FF8-CA33-78E1-DB61-531BB02E1E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168008" y="0"/>
            <a:ext cx="6023992" cy="6858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5F7C4CC-8B8D-1C83-BF94-876E28A3522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465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95" userDrawn="1">
          <p15:clr>
            <a:srgbClr val="FBAE40"/>
          </p15:clr>
        </p15:guide>
        <p15:guide id="3" pos="388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F156D71-E0B5-D6E1-661C-545C3C90E20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01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2615" userDrawn="1">
          <p15:clr>
            <a:srgbClr val="9FCC3B"/>
          </p15:clr>
        </p15:guide>
        <p15:guide id="4" pos="2706" userDrawn="1">
          <p15:clr>
            <a:srgbClr val="9FCC3B"/>
          </p15:clr>
        </p15:guide>
        <p15:guide id="5" pos="4974" userDrawn="1">
          <p15:clr>
            <a:srgbClr val="9FCC3B"/>
          </p15:clr>
        </p15:guide>
        <p15:guide id="6" pos="5065" userDrawn="1">
          <p15:clr>
            <a:srgbClr val="9FCC3B"/>
          </p15:clr>
        </p15:guide>
        <p15:guide id="7" pos="2026" userDrawn="1">
          <p15:clr>
            <a:srgbClr val="FBAE40"/>
          </p15:clr>
        </p15:guide>
        <p15:guide id="8" pos="2116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654" userDrawn="1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244" userDrawn="1">
          <p15:clr>
            <a:srgbClr val="9FCC3B"/>
          </p15:clr>
        </p15:guide>
        <p15:guide id="14" pos="6153" userDrawn="1">
          <p15:clr>
            <a:srgbClr val="9FCC3B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11088000" cy="4154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1844824"/>
            <a:ext cx="11088000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4620EFA-9440-BC50-A006-0044234481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162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2615" userDrawn="1">
          <p15:clr>
            <a:srgbClr val="9FCC3B"/>
          </p15:clr>
        </p15:guide>
        <p15:guide id="4" pos="2706" userDrawn="1">
          <p15:clr>
            <a:srgbClr val="9FCC3B"/>
          </p15:clr>
        </p15:guide>
        <p15:guide id="5" pos="4974" userDrawn="1">
          <p15:clr>
            <a:srgbClr val="9FCC3B"/>
          </p15:clr>
        </p15:guide>
        <p15:guide id="6" pos="5065" userDrawn="1">
          <p15:clr>
            <a:srgbClr val="9FCC3B"/>
          </p15:clr>
        </p15:guide>
        <p15:guide id="7" pos="2026" userDrawn="1">
          <p15:clr>
            <a:srgbClr val="FBAE40"/>
          </p15:clr>
        </p15:guide>
        <p15:guide id="8" pos="2116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654" userDrawn="1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244" userDrawn="1">
          <p15:clr>
            <a:srgbClr val="9FCC3B"/>
          </p15:clr>
        </p15:guide>
        <p15:guide id="14" pos="6153" userDrawn="1">
          <p15:clr>
            <a:srgbClr val="9FCC3B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(One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473179" cy="4154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1844824"/>
            <a:ext cx="5473179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4620EFA-9440-BC50-A006-0044234481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917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2615" userDrawn="1">
          <p15:clr>
            <a:srgbClr val="9FCC3B"/>
          </p15:clr>
        </p15:guide>
        <p15:guide id="4" pos="2706" userDrawn="1">
          <p15:clr>
            <a:srgbClr val="9FCC3B"/>
          </p15:clr>
        </p15:guide>
        <p15:guide id="5" pos="4974" userDrawn="1">
          <p15:clr>
            <a:srgbClr val="9FCC3B"/>
          </p15:clr>
        </p15:guide>
        <p15:guide id="6" pos="5065" userDrawn="1">
          <p15:clr>
            <a:srgbClr val="9FCC3B"/>
          </p15:clr>
        </p15:guide>
        <p15:guide id="7" pos="2026" userDrawn="1">
          <p15:clr>
            <a:srgbClr val="FBAE40"/>
          </p15:clr>
        </p15:guide>
        <p15:guide id="8" pos="2116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654" userDrawn="1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244" userDrawn="1">
          <p15:clr>
            <a:srgbClr val="9FCC3B"/>
          </p15:clr>
        </p15:guide>
        <p15:guide id="14" pos="6153" userDrawn="1">
          <p15:clr>
            <a:srgbClr val="9FCC3B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11088000" cy="4154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1844824"/>
            <a:ext cx="5472000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9B420C-8A57-5FE0-A3B3-87E196E65D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168008" y="1844824"/>
            <a:ext cx="5472000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3044E95F-CA3F-13A8-2786-33924D4D7A0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520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2615" userDrawn="1">
          <p15:clr>
            <a:srgbClr val="9FCC3B"/>
          </p15:clr>
        </p15:guide>
        <p15:guide id="4" pos="2706" userDrawn="1">
          <p15:clr>
            <a:srgbClr val="9FCC3B"/>
          </p15:clr>
        </p15:guide>
        <p15:guide id="5" pos="4974" userDrawn="1">
          <p15:clr>
            <a:srgbClr val="9FCC3B"/>
          </p15:clr>
        </p15:guide>
        <p15:guide id="6" pos="5065" userDrawn="1">
          <p15:clr>
            <a:srgbClr val="9FCC3B"/>
          </p15:clr>
        </p15:guide>
        <p15:guide id="7" pos="2026" userDrawn="1">
          <p15:clr>
            <a:srgbClr val="FBAE40"/>
          </p15:clr>
        </p15:guide>
        <p15:guide id="8" pos="2116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654" userDrawn="1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153" userDrawn="1">
          <p15:clr>
            <a:srgbClr val="9FCC3B"/>
          </p15:clr>
        </p15:guide>
        <p15:guide id="14" pos="6244" userDrawn="1">
          <p15:clr>
            <a:srgbClr val="9FCC3B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three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11088000" cy="4154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3" y="1844824"/>
            <a:ext cx="3600000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9B420C-8A57-5FE0-A3B3-87E196E65D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95800" y="1844824"/>
            <a:ext cx="3600000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1804F57-3A4A-9DF7-253D-B1D02A1E5C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040216" y="1844824"/>
            <a:ext cx="3600000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E285D2F7-CECB-F944-A2C5-B4FE6727F64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958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2615" userDrawn="1">
          <p15:clr>
            <a:srgbClr val="9FCC3B"/>
          </p15:clr>
        </p15:guide>
        <p15:guide id="4" pos="2706" userDrawn="1">
          <p15:clr>
            <a:srgbClr val="9FCC3B"/>
          </p15:clr>
        </p15:guide>
        <p15:guide id="5" pos="4974" userDrawn="1">
          <p15:clr>
            <a:srgbClr val="9FCC3B"/>
          </p15:clr>
        </p15:guide>
        <p15:guide id="6" pos="5065" userDrawn="1">
          <p15:clr>
            <a:srgbClr val="9FCC3B"/>
          </p15:clr>
        </p15:guide>
        <p15:guide id="7" pos="2026" userDrawn="1">
          <p15:clr>
            <a:srgbClr val="FBAE40"/>
          </p15:clr>
        </p15:guide>
        <p15:guide id="8" pos="2116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654" userDrawn="1">
          <p15:clr>
            <a:srgbClr val="FBAE40"/>
          </p15:clr>
        </p15:guide>
        <p15:guide id="11" pos="1527" userDrawn="1">
          <p15:clr>
            <a:srgbClr val="9FCC3B"/>
          </p15:clr>
        </p15:guide>
        <p15:guide id="12" pos="1436" userDrawn="1">
          <p15:clr>
            <a:srgbClr val="9FCC3B"/>
          </p15:clr>
        </p15:guide>
        <p15:guide id="13" pos="6244" userDrawn="1">
          <p15:clr>
            <a:srgbClr val="9FCC3B"/>
          </p15:clr>
        </p15:guide>
        <p15:guide id="14" pos="6153" userDrawn="1">
          <p15:clr>
            <a:srgbClr val="9FCC3B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9120" y="476672"/>
            <a:ext cx="5072018" cy="83099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69120" y="1844824"/>
            <a:ext cx="5072018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3568213-EF68-936E-27E2-B491177E3D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6023992" cy="6858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8DF71F51-0B3A-FA94-83C0-0892861AA27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9912350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244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244" userDrawn="1">
          <p15:clr>
            <a:srgbClr val="9FCC3B"/>
          </p15:clr>
        </p15:guide>
        <p15:guide id="14" pos="6153" userDrawn="1">
          <p15:clr>
            <a:srgbClr val="9FCC3B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slide 1"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dient background">
            <a:extLst>
              <a:ext uri="{FF2B5EF4-FFF2-40B4-BE49-F238E27FC236}">
                <a16:creationId xmlns:a16="http://schemas.microsoft.com/office/drawing/2014/main" id="{92928F57-07A1-1A1B-92F7-6684E21D98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0" y="6057900"/>
            <a:ext cx="12192000" cy="8001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E11E6EF-7DEE-709C-8F7C-C05A9D414C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1384" y="726029"/>
            <a:ext cx="10080000" cy="3687997"/>
          </a:xfrm>
        </p:spPr>
        <p:txBody>
          <a:bodyPr anchor="t">
            <a:spAutoFit/>
          </a:bodyPr>
          <a:lstStyle>
            <a:lvl1pPr algn="l">
              <a:lnSpc>
                <a:spcPct val="83000"/>
              </a:lnSpc>
              <a:defRPr sz="9600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Edit presentation title (maximum three lines)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56DCA5C-54BE-B570-7771-24B6F32B86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4554387"/>
            <a:ext cx="5472608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CEC8C55-6D9F-A0BC-1D15-F83CA5ED26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168505" y="4554387"/>
            <a:ext cx="4464000" cy="369332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dat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5B90D9E-31F6-9A74-2145-A6288C92CE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3" y="5022439"/>
            <a:ext cx="5472000" cy="184666"/>
          </a:xfrm>
        </p:spPr>
        <p:txBody>
          <a:bodyPr>
            <a:sp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title, speaker info, function name, field of research, etc.</a:t>
            </a: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E1618CDF-9C19-3C90-0476-C964BD896D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AEE872-17BA-5687-6409-5D696FD2CCF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noProof="0"/>
              <a:t>CASSS Virtual Europe Discussion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00544A-606F-A954-EFCC-B2A52625FF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DD9F3E-8BFD-4E3C-98D1-767322780FD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99719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9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072018" cy="83099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1844824"/>
            <a:ext cx="5072018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3568213-EF68-936E-27E2-B491177E3D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168008" y="0"/>
            <a:ext cx="6023992" cy="6858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8DF71F51-0B3A-FA94-83C0-0892861AA27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958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244" userDrawn="1">
          <p15:clr>
            <a:srgbClr val="9FCC3B"/>
          </p15:clr>
        </p15:guide>
        <p15:guide id="14" pos="6153" userDrawn="1">
          <p15:clr>
            <a:srgbClr val="9FCC3B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two images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3568213-EF68-936E-27E2-B491177E3D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6023992" cy="3357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572822B-059A-B7AD-0BBE-CC9F10D80A8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3501000"/>
            <a:ext cx="6023992" cy="3357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BF778B60-B2B6-2C1B-6489-97359DB6250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9912350" y="6301888"/>
            <a:ext cx="1691980" cy="25283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2DDFF32-ABCB-33C4-9D6C-A673B4B53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9120" y="476672"/>
            <a:ext cx="5072018" cy="83099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E09FD615-2E6A-9A47-5949-05F77046EE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69120" y="1844824"/>
            <a:ext cx="5072018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2890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153" userDrawn="1">
          <p15:clr>
            <a:srgbClr val="9FCC3B"/>
          </p15:clr>
        </p15:guide>
        <p15:guide id="14" pos="6244" userDrawn="1">
          <p15:clr>
            <a:srgbClr val="9FCC3B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two images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072018" cy="83099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1844824"/>
            <a:ext cx="5072018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3568213-EF68-936E-27E2-B491177E3D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168008" y="0"/>
            <a:ext cx="6023992" cy="3357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572822B-059A-B7AD-0BBE-CC9F10D80A8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168008" y="3501000"/>
            <a:ext cx="6023992" cy="3357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82BC9066-B5D9-AF6D-6531-C5B70B0F4BE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287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153" userDrawn="1">
          <p15:clr>
            <a:srgbClr val="9FCC3B"/>
          </p15:clr>
        </p15:guide>
        <p15:guide id="14" pos="6244" userDrawn="1">
          <p15:clr>
            <a:srgbClr val="9FCC3B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wo images,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3568213-EF68-936E-27E2-B491177E3D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6023992" cy="31788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572822B-059A-B7AD-0BBE-CC9F10D80A8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168008" y="0"/>
            <a:ext cx="6023992" cy="31788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3717032"/>
            <a:ext cx="5472000" cy="83099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68008" y="3717032"/>
            <a:ext cx="5472000" cy="2340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F1CE46F8-E5F0-79EC-BCFD-07B38471E42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l"/>
            <a:r>
              <a:rPr lang="en-US" noProof="0"/>
              <a:t>CASSS Virtual Europe Discussion Group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132686C-3404-59C2-A915-D1BF3E0108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C98B57A-3555-40BA-AB17-E55AA71BD4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22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153" userDrawn="1">
          <p15:clr>
            <a:srgbClr val="9FCC3B"/>
          </p15:clr>
        </p15:guide>
        <p15:guide id="14" pos="6244" userDrawn="1">
          <p15:clr>
            <a:srgbClr val="9FCC3B"/>
          </p15:clr>
        </p15:guide>
        <p15:guide id="15" orient="horz" pos="234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261E2592-C1EF-3D9B-8998-9CBE468D2E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1844824"/>
            <a:ext cx="3600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aption</a:t>
            </a:r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214862B1-1BEA-07E1-834B-64536F34BB6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1384" y="2240868"/>
            <a:ext cx="3600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DE0631-BFE0-D7CB-B38E-9800DAD94A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1384" y="5049180"/>
            <a:ext cx="3600000" cy="1008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625D5CD-EB13-7B23-8CE8-72C1140C3D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95800" y="1844824"/>
            <a:ext cx="3600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aption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9D56707-D9C5-867A-9B10-EEE16F55F40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4295800" y="2240868"/>
            <a:ext cx="3600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18DCF02-18F0-F413-650A-1BBBB77FE2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5800" y="5049180"/>
            <a:ext cx="3600000" cy="1008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0B06B7A-FFCC-5BC2-0870-633DD5EE8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040216" y="1844824"/>
            <a:ext cx="3600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aption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8F0C17C-68B4-7D82-079D-FE5525B2C86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8040216" y="2240868"/>
            <a:ext cx="3600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C875757-40AA-FFE0-19F9-4B08BD4DB8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040216" y="5049180"/>
            <a:ext cx="3600000" cy="1008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F156D71-E0B5-D6E1-661C-545C3C90E20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42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  <p15:guide id="11" pos="1436">
          <p15:clr>
            <a:srgbClr val="9FCC3B"/>
          </p15:clr>
        </p15:guide>
        <p15:guide id="12" pos="1527">
          <p15:clr>
            <a:srgbClr val="9FCC3B"/>
          </p15:clr>
        </p15:guide>
        <p15:guide id="13" pos="6244">
          <p15:clr>
            <a:srgbClr val="9FCC3B"/>
          </p15:clr>
        </p15:guide>
        <p15:guide id="14" pos="6153">
          <p15:clr>
            <a:srgbClr val="9FCC3B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Full image  (name and posi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3568213-EF68-936E-27E2-B491177E3D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-600" y="0"/>
            <a:ext cx="12193200" cy="6858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CE8921B-3DA6-94DA-A776-DD044CCFAE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51384" y="5264626"/>
            <a:ext cx="2398193" cy="792666"/>
          </a:xfrm>
          <a:solidFill>
            <a:schemeClr val="bg1"/>
          </a:solidFill>
        </p:spPr>
        <p:txBody>
          <a:bodyPr wrap="none" lIns="108000" tIns="133200" rIns="108000" bIns="169200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Edit Name Surname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069105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edia (fullsc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1">
            <a:extLst>
              <a:ext uri="{FF2B5EF4-FFF2-40B4-BE49-F238E27FC236}">
                <a16:creationId xmlns:a16="http://schemas.microsoft.com/office/drawing/2014/main" id="{CBB6E684-2097-3EE4-C891-8AFA7D49DEA4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 bwMode="gray">
          <a:xfrm>
            <a:off x="-600" y="0"/>
            <a:ext cx="12193200" cy="6858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9570896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 Key message 1 (gradi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background">
            <a:extLst>
              <a:ext uri="{FF2B5EF4-FFF2-40B4-BE49-F238E27FC236}">
                <a16:creationId xmlns:a16="http://schemas.microsoft.com/office/drawing/2014/main" id="{8D74D201-83D3-6FD9-8655-C4045985B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11641138" y="0"/>
            <a:ext cx="55518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48559"/>
            <a:ext cx="10440000" cy="4904676"/>
          </a:xfrm>
        </p:spPr>
        <p:txBody>
          <a:bodyPr>
            <a:spAutoFit/>
          </a:bodyPr>
          <a:lstStyle>
            <a:lvl1pPr>
              <a:lnSpc>
                <a:spcPct val="83000"/>
              </a:lnSpc>
              <a:defRPr sz="9600" spc="-6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key message (can be several lines long)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1C21BD91-F5A5-C766-343C-9E9AF3E574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23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692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Key message 2 (gradi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9266D735-8620-C437-0FB3-0FE9AE77E0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505247"/>
            <a:ext cx="10440000" cy="1692515"/>
          </a:xfrm>
        </p:spPr>
        <p:txBody>
          <a:bodyPr/>
          <a:lstStyle>
            <a:lvl1pPr>
              <a:lnSpc>
                <a:spcPct val="83000"/>
              </a:lnSpc>
              <a:defRPr sz="6600" spc="-6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key message (can be several lines long)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5C384BCF-9353-711D-04BF-7AF1446ED0E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661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692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 message 1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A803874-3F49-6B30-F1BA-029CAB9E94C7}"/>
              </a:ext>
            </a:extLst>
          </p:cNvPr>
          <p:cNvSpPr/>
          <p:nvPr userDrawn="1"/>
        </p:nvSpPr>
        <p:spPr>
          <a:xfrm>
            <a:off x="1076" y="0"/>
            <a:ext cx="1219092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US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21362"/>
            <a:ext cx="10440000" cy="4904676"/>
          </a:xfrm>
        </p:spPr>
        <p:txBody>
          <a:bodyPr>
            <a:spAutoFit/>
          </a:bodyPr>
          <a:lstStyle>
            <a:lvl1pPr>
              <a:lnSpc>
                <a:spcPct val="83000"/>
              </a:lnSpc>
              <a:defRPr sz="9600" spc="-6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key message (can be several lines long)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1C21BD91-F5A5-C766-343C-9E9AF3E574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257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692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95B2D-557F-82D7-1FBB-918B877841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1384" y="726029"/>
            <a:ext cx="10080000" cy="3687997"/>
          </a:xfrm>
        </p:spPr>
        <p:txBody>
          <a:bodyPr anchor="t">
            <a:spAutoFit/>
          </a:bodyPr>
          <a:lstStyle>
            <a:lvl1pPr algn="l">
              <a:lnSpc>
                <a:spcPct val="83000"/>
              </a:lnSpc>
              <a:defRPr sz="9600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Edit presentation title (maximum three lines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416517-6E31-5EB2-9E14-48277588B5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4554387"/>
            <a:ext cx="5472608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9652521A-CD45-F485-9C10-82CE67ACE2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168505" y="4554387"/>
            <a:ext cx="4464000" cy="369332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dat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6ED980B-9D65-A198-AE5E-5981B5E21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3" y="5022439"/>
            <a:ext cx="5472000" cy="184666"/>
          </a:xfrm>
        </p:spPr>
        <p:txBody>
          <a:bodyPr>
            <a:sp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title, speaker info, function name, field of research, etc.</a:t>
            </a: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E1618CDF-9C19-3C90-0476-C964BD896D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pic>
        <p:nvPicPr>
          <p:cNvPr id="4" name="Gradient background">
            <a:extLst>
              <a:ext uri="{FF2B5EF4-FFF2-40B4-BE49-F238E27FC236}">
                <a16:creationId xmlns:a16="http://schemas.microsoft.com/office/drawing/2014/main" id="{8724D9F6-3E07-EAAB-9C0A-FB3B644A65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0" y="1"/>
            <a:ext cx="12192000" cy="30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221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9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 message 2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C1CC37E-F977-0808-8FE2-EBFB981F74D1}"/>
              </a:ext>
            </a:extLst>
          </p:cNvPr>
          <p:cNvSpPr/>
          <p:nvPr userDrawn="1"/>
        </p:nvSpPr>
        <p:spPr>
          <a:xfrm>
            <a:off x="1076" y="0"/>
            <a:ext cx="1219092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US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505247"/>
            <a:ext cx="10440000" cy="1692515"/>
          </a:xfrm>
        </p:spPr>
        <p:txBody>
          <a:bodyPr/>
          <a:lstStyle>
            <a:lvl1pPr>
              <a:lnSpc>
                <a:spcPct val="83000"/>
              </a:lnSpc>
              <a:defRPr sz="6600" spc="-6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key message (can be several lines long)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5C384BCF-9353-711D-04BF-7AF1446ED0E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2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692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 (Background Grey)">
            <a:extLst>
              <a:ext uri="{FF2B5EF4-FFF2-40B4-BE49-F238E27FC236}">
                <a16:creationId xmlns:a16="http://schemas.microsoft.com/office/drawing/2014/main" id="{F56792E5-C6B9-EC9B-17EE-7D7E78258F0A}"/>
              </a:ext>
            </a:extLst>
          </p:cNvPr>
          <p:cNvSpPr/>
          <p:nvPr userDrawn="1"/>
        </p:nvSpPr>
        <p:spPr bwMode="gray">
          <a:xfrm>
            <a:off x="6168008" y="512676"/>
            <a:ext cx="5472000" cy="55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472000" cy="83099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2A6871A-3127-1574-ACDE-16A7A0E550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1844824"/>
            <a:ext cx="5472000" cy="4212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E0B544B-42EB-16A3-0EBF-8006B62CA0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528008" y="836712"/>
            <a:ext cx="4752000" cy="18466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chart 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A94ADB8-8BB9-7BA9-B6D8-7500FFA904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28008" y="1052736"/>
            <a:ext cx="4752000" cy="18466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unit of value</a:t>
            </a:r>
          </a:p>
        </p:txBody>
      </p:sp>
      <p:sp>
        <p:nvSpPr>
          <p:cNvPr id="12" name="Chart Placeholder 1">
            <a:extLst>
              <a:ext uri="{FF2B5EF4-FFF2-40B4-BE49-F238E27FC236}">
                <a16:creationId xmlns:a16="http://schemas.microsoft.com/office/drawing/2014/main" id="{6F45CE3C-CE03-F84F-458B-8EB30D44E2C2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6527521" y="1340768"/>
            <a:ext cx="4752975" cy="4140000"/>
          </a:xfrm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1429D25-4756-CAC6-F902-90E7E3E788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28008" y="5589530"/>
            <a:ext cx="4752000" cy="10772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7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7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7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7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7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7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7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7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footnote/source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78DAF8DC-04B4-6F33-FDF5-0EC9726FA82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en-US" noProof="0"/>
              <a:t>CASSS Virtual Europe Discussion Group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8CC90698-5AC9-14B7-D67A-08FAA7A9C0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268BFFB-23FF-B2EF-20B1-9397D5C51E0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119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  <p15:guide id="11" pos="1436" userDrawn="1">
          <p15:clr>
            <a:srgbClr val="9FCC3B"/>
          </p15:clr>
        </p15:guide>
        <p15:guide id="12" pos="1527" userDrawn="1">
          <p15:clr>
            <a:srgbClr val="9FCC3B"/>
          </p15:clr>
        </p15:guide>
        <p15:guide id="13" pos="6244" userDrawn="1">
          <p15:clr>
            <a:srgbClr val="9FCC3B"/>
          </p15:clr>
        </p15:guide>
        <p15:guide id="14" pos="6153" userDrawn="1">
          <p15:clr>
            <a:srgbClr val="9FCC3B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9DD3A440-1CA9-B6A2-DB83-4AED31D076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1384" y="1844824"/>
            <a:ext cx="2687116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21D8988-0F40-25F1-D7E7-AD2B2BD5BE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653136"/>
            <a:ext cx="2664000" cy="1404764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Name Surname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BF10AE8-C121-8442-377B-88627C9560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359696" y="1844824"/>
            <a:ext cx="2664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5885C9B-BDFD-3544-8568-29E1331A42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9696" y="4653136"/>
            <a:ext cx="2664000" cy="1404764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Name Surname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15ECF1-9C67-32ED-D4D3-DDFE8EE0FA8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6168008" y="1844824"/>
            <a:ext cx="2664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9C6BBFC-28AE-9E58-2344-AD9D8C100E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68008" y="4653136"/>
            <a:ext cx="2664000" cy="1404764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Name Surname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FE697D5E-1E96-8C69-B935-640772D9971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8976320" y="1844824"/>
            <a:ext cx="2664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E99907E-A59A-265E-C3BE-FF36FAD57D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976320" y="4653136"/>
            <a:ext cx="2664000" cy="1404764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2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Name Surname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3BCB6BD-118A-9D0A-8BE7-284C24A9E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3D64732-4FCA-425B-942A-F3C6B6507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EDD9F3E-8BFD-4E3C-98D1-767322780FD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F156D71-E0B5-D6E1-661C-545C3C90E20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379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2615">
          <p15:clr>
            <a:srgbClr val="9FCC3B"/>
          </p15:clr>
        </p15:guide>
        <p15:guide id="4" pos="2706">
          <p15:clr>
            <a:srgbClr val="9FCC3B"/>
          </p15:clr>
        </p15:guide>
        <p15:guide id="5" pos="4974">
          <p15:clr>
            <a:srgbClr val="9FCC3B"/>
          </p15:clr>
        </p15:guide>
        <p15:guide id="6" pos="5065">
          <p15:clr>
            <a:srgbClr val="9FCC3B"/>
          </p15:clr>
        </p15:guide>
        <p15:guide id="7" pos="2040" userDrawn="1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  <p15:guide id="11" pos="1436">
          <p15:clr>
            <a:srgbClr val="9FCC3B"/>
          </p15:clr>
        </p15:guide>
        <p15:guide id="12" pos="1527">
          <p15:clr>
            <a:srgbClr val="9FCC3B"/>
          </p15:clr>
        </p15:guide>
        <p15:guide id="13" pos="6244">
          <p15:clr>
            <a:srgbClr val="9FCC3B"/>
          </p15:clr>
        </p15:guide>
        <p15:guide id="14" pos="6153">
          <p15:clr>
            <a:srgbClr val="9FCC3B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1C21BD91-F5A5-C766-343C-9E9AF3E574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79F1196-D343-C4C6-E6C1-0481148364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47514"/>
            <a:ext cx="10440000" cy="3687997"/>
          </a:xfrm>
        </p:spPr>
        <p:txBody>
          <a:bodyPr/>
          <a:lstStyle>
            <a:lvl1pPr>
              <a:lnSpc>
                <a:spcPct val="83000"/>
              </a:lnSpc>
              <a:defRPr sz="9600" spc="-6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closing statement (max. three lines)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C7C11606-5708-5AF1-A745-7C48C94318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12224" y="4508884"/>
            <a:ext cx="3528000" cy="764312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8" name="Gradient background">
            <a:extLst>
              <a:ext uri="{FF2B5EF4-FFF2-40B4-BE49-F238E27FC236}">
                <a16:creationId xmlns:a16="http://schemas.microsoft.com/office/drawing/2014/main" id="{C5FA1B03-9A8B-0B3A-DF97-DDA924BDB59D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3735" t="784" r="487" b="784"/>
          <a:stretch>
            <a:fillRect/>
          </a:stretch>
        </p:blipFill>
        <p:spPr bwMode="hidden">
          <a:xfrm>
            <a:off x="11641138" y="1"/>
            <a:ext cx="5551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865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692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47514"/>
            <a:ext cx="10440000" cy="3687997"/>
          </a:xfrm>
        </p:spPr>
        <p:txBody>
          <a:bodyPr/>
          <a:lstStyle>
            <a:lvl1pPr>
              <a:lnSpc>
                <a:spcPct val="83000"/>
              </a:lnSpc>
              <a:defRPr sz="9600" spc="-6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closing statement (max. three lines)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D5EBA909-1CBA-C07A-6241-B3E5C730CC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12224" y="4508884"/>
            <a:ext cx="3528000" cy="764312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1C21BD91-F5A5-C766-343C-9E9AF3E574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592B1CA-9888-E4D0-38AA-72644C82C18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90878"/>
          <a:stretch>
            <a:fillRect/>
          </a:stretch>
        </p:blipFill>
        <p:spPr>
          <a:xfrm flipH="1">
            <a:off x="11641138" y="0"/>
            <a:ext cx="5582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818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692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AEE5160-7157-FD00-72DD-B0C1659617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1C21BD91-F5A5-C766-343C-9E9AF3E574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ABF2EA-E0E1-5E97-F9DF-0A25325C64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47514"/>
            <a:ext cx="10440000" cy="3687997"/>
          </a:xfrm>
        </p:spPr>
        <p:txBody>
          <a:bodyPr/>
          <a:lstStyle>
            <a:lvl1pPr>
              <a:lnSpc>
                <a:spcPct val="83000"/>
              </a:lnSpc>
              <a:defRPr sz="9600" spc="-6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closing statement (max. three lines)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A238B284-6E1F-DB98-291C-B688B697E4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12224" y="4508884"/>
            <a:ext cx="3528000" cy="764312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2" name="Gradient background">
            <a:extLst>
              <a:ext uri="{FF2B5EF4-FFF2-40B4-BE49-F238E27FC236}">
                <a16:creationId xmlns:a16="http://schemas.microsoft.com/office/drawing/2014/main" id="{71B56941-9CB9-1B31-EE5C-90530DC680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11641138" y="0"/>
            <a:ext cx="5551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16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692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953C5D2-2DA0-43FA-4736-78C3F7AAAC1F}"/>
              </a:ext>
            </a:extLst>
          </p:cNvPr>
          <p:cNvSpPr/>
          <p:nvPr userDrawn="1"/>
        </p:nvSpPr>
        <p:spPr>
          <a:xfrm>
            <a:off x="1076" y="0"/>
            <a:ext cx="1219092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US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915" y="745103"/>
            <a:ext cx="10440000" cy="1226170"/>
          </a:xfrm>
        </p:spPr>
        <p:txBody>
          <a:bodyPr/>
          <a:lstStyle>
            <a:lvl1pPr>
              <a:lnSpc>
                <a:spcPct val="83000"/>
              </a:lnSpc>
              <a:defRPr sz="9600" spc="-6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Q&amp;A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D5EBA909-1CBA-C07A-6241-B3E5C730CC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94" y="2872882"/>
            <a:ext cx="3528000" cy="764312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20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1C21BD91-F5A5-C766-343C-9E9AF3E574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pic>
        <p:nvPicPr>
          <p:cNvPr id="4" name="Gradient background">
            <a:extLst>
              <a:ext uri="{FF2B5EF4-FFF2-40B4-BE49-F238E27FC236}">
                <a16:creationId xmlns:a16="http://schemas.microsoft.com/office/drawing/2014/main" id="{B71C6042-1A08-DE22-F443-2471CE7EBC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0" y="1"/>
            <a:ext cx="12192000" cy="30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318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692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864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ASSS Virtual Europe Discussion Grou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5"/>
          </p:nvPr>
        </p:nvSpPr>
        <p:spPr>
          <a:xfrm>
            <a:off x="810768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38247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SS Virtual Europe Discussion Group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872158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 Title slide, small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04B24E-D992-5401-CB6C-198F276AA8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04838" y="2605483"/>
            <a:ext cx="7366000" cy="193899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7000">
                <a:gradFill>
                  <a:gsLst>
                    <a:gs pos="0">
                      <a:schemeClr val="accent2"/>
                    </a:gs>
                    <a:gs pos="56000">
                      <a:srgbClr val="FF6600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D163B82-7E89-D143-FB70-FCB8F879CB6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 bwMode="gray">
          <a:xfrm>
            <a:off x="352316" y="99676"/>
            <a:ext cx="2412000" cy="859996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DF86A3-7A96-FC1B-5B27-FE7C98AB0DC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8201025" y="1612900"/>
            <a:ext cx="3990975" cy="5245100"/>
          </a:xfrm>
          <a:solidFill>
            <a:schemeClr val="bg2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B7E4A66-D928-B994-D2DE-B15BC18FDB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04838" y="6053286"/>
            <a:ext cx="3562350" cy="323850"/>
          </a:xfrm>
        </p:spPr>
        <p:txBody>
          <a:bodyPr anchor="b" anchorCtr="0"/>
          <a:lstStyle>
            <a:lvl1pPr>
              <a:spcBef>
                <a:spcPts val="0"/>
              </a:spcBef>
              <a:defRPr sz="2000" b="0"/>
            </a:lvl1pPr>
            <a:lvl2pPr marL="0" indent="0">
              <a:buFont typeface="Arial" panose="020B0604020202020204" pitchFamily="34" charset="0"/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noProof="0"/>
              <a:t>Click to edit date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9ADF1D7A-3F46-13CC-CD20-EB8601FA9F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08488" y="6053286"/>
            <a:ext cx="3562350" cy="323850"/>
          </a:xfrm>
        </p:spPr>
        <p:txBody>
          <a:bodyPr anchor="b" anchorCtr="0"/>
          <a:lstStyle>
            <a:lvl1pPr algn="r">
              <a:spcBef>
                <a:spcPts val="0"/>
              </a:spcBef>
              <a:defRPr sz="2000" b="0"/>
            </a:lvl1pPr>
            <a:lvl2pPr marL="0" indent="0">
              <a:buFont typeface="Arial" panose="020B0604020202020204" pitchFamily="34" charset="0"/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noProof="0"/>
              <a:t>Click to 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117949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Logo">
            <a:extLst>
              <a:ext uri="{FF2B5EF4-FFF2-40B4-BE49-F238E27FC236}">
                <a16:creationId xmlns:a16="http://schemas.microsoft.com/office/drawing/2014/main" id="{E1618CDF-9C19-3C90-0476-C964BD896D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51C14DD-9794-E6F9-AF00-3571E64B89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1384" y="726029"/>
            <a:ext cx="10080000" cy="3687997"/>
          </a:xfrm>
        </p:spPr>
        <p:txBody>
          <a:bodyPr anchor="t">
            <a:spAutoFit/>
          </a:bodyPr>
          <a:lstStyle>
            <a:lvl1pPr algn="l">
              <a:lnSpc>
                <a:spcPct val="83000"/>
              </a:lnSpc>
              <a:defRPr sz="9600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Edit presentation title (maximum three lines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DBE46BF-4100-2DC3-ABDE-7C925CA29C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4554387"/>
            <a:ext cx="5472608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88B367B8-A7CD-7CB8-9517-8197F72C4C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168505" y="4554387"/>
            <a:ext cx="4464000" cy="369332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dat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5AA0FEE-BD89-5565-F585-CC60A499B7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3" y="5022439"/>
            <a:ext cx="5472000" cy="184666"/>
          </a:xfrm>
        </p:spPr>
        <p:txBody>
          <a:bodyPr>
            <a:sp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title, speaker info, function name, field of research, etc.</a:t>
            </a:r>
          </a:p>
        </p:txBody>
      </p:sp>
    </p:spTree>
    <p:extLst>
      <p:ext uri="{BB962C8B-B14F-4D97-AF65-F5344CB8AC3E}">
        <p14:creationId xmlns:p14="http://schemas.microsoft.com/office/powerpoint/2010/main" val="2235553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9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ASSS Virtual Europe Discussion Gro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30737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7284" y="1574800"/>
            <a:ext cx="11459591" cy="4114800"/>
          </a:xfrm>
        </p:spPr>
        <p:txBody>
          <a:bodyPr/>
          <a:lstStyle>
            <a:lvl1pPr>
              <a:spcBef>
                <a:spcPts val="200"/>
              </a:spcBef>
              <a:spcAft>
                <a:spcPts val="8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0226E-F82D-52DF-2FCC-6209BED09E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4" y="5833872"/>
            <a:ext cx="8819340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8607E7D1-CF96-748D-19F0-853D3F7E4A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2433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slide with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dient background">
            <a:extLst>
              <a:ext uri="{FF2B5EF4-FFF2-40B4-BE49-F238E27FC236}">
                <a16:creationId xmlns:a16="http://schemas.microsoft.com/office/drawing/2014/main" id="{7129C899-CA72-B0BF-E98C-9CCD2CE9E8B9}"/>
              </a:ext>
            </a:extLst>
          </p:cNvPr>
          <p:cNvSpPr/>
          <p:nvPr userDrawn="1"/>
        </p:nvSpPr>
        <p:spPr bwMode="hidden">
          <a:xfrm flipH="1">
            <a:off x="-1" y="2420888"/>
            <a:ext cx="4281056" cy="4437112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 l="-811" t="-811" r="-811" b="-811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595B2D-557F-82D7-1FBB-918B877841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1385" y="3429000"/>
            <a:ext cx="3384607" cy="1532727"/>
          </a:xfrm>
        </p:spPr>
        <p:txBody>
          <a:bodyPr wrap="square" anchor="t">
            <a:spAutoFit/>
          </a:bodyPr>
          <a:lstStyle>
            <a:lvl1pPr algn="l">
              <a:lnSpc>
                <a:spcPct val="83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resentation title (max. three lines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416517-6E31-5EB2-9E14-48277588B5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470856"/>
            <a:ext cx="324000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Edit Name Surnam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8C8A5A2-EC78-EC54-A690-5119D6E64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935992" y="470856"/>
            <a:ext cx="2088000" cy="369332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Edit dat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6ED980B-9D65-A198-AE5E-5981B5E21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1" y="938908"/>
            <a:ext cx="5472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title, speaker info, function name, field of research, etc.</a:t>
            </a:r>
          </a:p>
        </p:txBody>
      </p:sp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30DD2D3B-1714-F49A-B6C1-3FDB1CE0D9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425055" y="2420888"/>
            <a:ext cx="7766945" cy="4437112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Rectangle orange">
            <a:extLst>
              <a:ext uri="{FF2B5EF4-FFF2-40B4-BE49-F238E27FC236}">
                <a16:creationId xmlns:a16="http://schemas.microsoft.com/office/drawing/2014/main" id="{812F2B87-FA36-EC70-E097-2108BCF02D3B}"/>
              </a:ext>
            </a:extLst>
          </p:cNvPr>
          <p:cNvSpPr/>
          <p:nvPr userDrawn="1"/>
        </p:nvSpPr>
        <p:spPr bwMode="gray">
          <a:xfrm>
            <a:off x="4281055" y="1844824"/>
            <a:ext cx="144000" cy="5760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E1618CDF-9C19-3C90-0476-C964BD896D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21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slide with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dient background">
            <a:extLst>
              <a:ext uri="{FF2B5EF4-FFF2-40B4-BE49-F238E27FC236}">
                <a16:creationId xmlns:a16="http://schemas.microsoft.com/office/drawing/2014/main" id="{7129C899-CA72-B0BF-E98C-9CCD2CE9E8B9}"/>
              </a:ext>
            </a:extLst>
          </p:cNvPr>
          <p:cNvSpPr/>
          <p:nvPr userDrawn="1"/>
        </p:nvSpPr>
        <p:spPr bwMode="hidden">
          <a:xfrm>
            <a:off x="0" y="2420888"/>
            <a:ext cx="4281056" cy="4437112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US" noProof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416517-6E31-5EB2-9E14-48277588B5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470856"/>
            <a:ext cx="324000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Edit Name Surnam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8C8A5A2-EC78-EC54-A690-5119D6E64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935992" y="470856"/>
            <a:ext cx="2088000" cy="369332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Edit dat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6ED980B-9D65-A198-AE5E-5981B5E21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1" y="938908"/>
            <a:ext cx="5472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title, speaker info, function name, field of research, etc.</a:t>
            </a:r>
          </a:p>
        </p:txBody>
      </p:sp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30DD2D3B-1714-F49A-B6C1-3FDB1CE0D9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425056" y="2420888"/>
            <a:ext cx="7766944" cy="4437112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Rectangle orange">
            <a:extLst>
              <a:ext uri="{FF2B5EF4-FFF2-40B4-BE49-F238E27FC236}">
                <a16:creationId xmlns:a16="http://schemas.microsoft.com/office/drawing/2014/main" id="{812F2B87-FA36-EC70-E097-2108BCF02D3B}"/>
              </a:ext>
            </a:extLst>
          </p:cNvPr>
          <p:cNvSpPr/>
          <p:nvPr userDrawn="1"/>
        </p:nvSpPr>
        <p:spPr bwMode="gray">
          <a:xfrm>
            <a:off x="4281056" y="1844824"/>
            <a:ext cx="144000" cy="5760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E1618CDF-9C19-3C90-0476-C964BD896D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4A620D-E72D-0599-539C-16ECD62CD3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1385" y="3429000"/>
            <a:ext cx="3384607" cy="1532727"/>
          </a:xfrm>
        </p:spPr>
        <p:txBody>
          <a:bodyPr wrap="square" anchor="t">
            <a:spAutoFit/>
          </a:bodyPr>
          <a:lstStyle>
            <a:lvl1pPr algn="l">
              <a:lnSpc>
                <a:spcPct val="83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resentation title (max. three lines)</a:t>
            </a:r>
          </a:p>
        </p:txBody>
      </p:sp>
    </p:spTree>
    <p:extLst>
      <p:ext uri="{BB962C8B-B14F-4D97-AF65-F5344CB8AC3E}">
        <p14:creationId xmlns:p14="http://schemas.microsoft.com/office/powerpoint/2010/main" val="2718179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slide with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dient background">
            <a:extLst>
              <a:ext uri="{FF2B5EF4-FFF2-40B4-BE49-F238E27FC236}">
                <a16:creationId xmlns:a16="http://schemas.microsoft.com/office/drawing/2014/main" id="{7129C899-CA72-B0BF-E98C-9CCD2CE9E8B9}"/>
              </a:ext>
            </a:extLst>
          </p:cNvPr>
          <p:cNvSpPr/>
          <p:nvPr userDrawn="1"/>
        </p:nvSpPr>
        <p:spPr bwMode="hidden">
          <a:xfrm flipH="1">
            <a:off x="615" y="2420888"/>
            <a:ext cx="4280440" cy="4437112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US" noProof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416517-6E31-5EB2-9E14-48277588B5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470856"/>
            <a:ext cx="324000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Edit Name Surnam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8C8A5A2-EC78-EC54-A690-5119D6E64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935992" y="470856"/>
            <a:ext cx="2088000" cy="369332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3pPr>
            <a:lvl4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4pPr>
            <a:lvl5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5pPr>
            <a:lvl6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8pPr>
            <a:lvl9pPr marL="0" indent="0" algn="r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Edit dat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6ED980B-9D65-A198-AE5E-5981B5E21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1" y="938908"/>
            <a:ext cx="5472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40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title, speaker info, function name, field of research, etc.</a:t>
            </a:r>
          </a:p>
        </p:txBody>
      </p:sp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30DD2D3B-1714-F49A-B6C1-3FDB1CE0D9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425055" y="2420888"/>
            <a:ext cx="7766945" cy="4437112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Rectangle orange">
            <a:extLst>
              <a:ext uri="{FF2B5EF4-FFF2-40B4-BE49-F238E27FC236}">
                <a16:creationId xmlns:a16="http://schemas.microsoft.com/office/drawing/2014/main" id="{812F2B87-FA36-EC70-E097-2108BCF02D3B}"/>
              </a:ext>
            </a:extLst>
          </p:cNvPr>
          <p:cNvSpPr/>
          <p:nvPr userDrawn="1"/>
        </p:nvSpPr>
        <p:spPr bwMode="gray">
          <a:xfrm>
            <a:off x="4281055" y="1844824"/>
            <a:ext cx="144000" cy="5760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E1618CDF-9C19-3C90-0476-C964BD896D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EDBD3AB-8D5C-9430-21B5-DB44408225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1385" y="3429000"/>
            <a:ext cx="3384607" cy="1532727"/>
          </a:xfrm>
        </p:spPr>
        <p:txBody>
          <a:bodyPr wrap="square" anchor="t">
            <a:spAutoFit/>
          </a:bodyPr>
          <a:lstStyle>
            <a:lvl1pPr algn="l">
              <a:lnSpc>
                <a:spcPct val="83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resentation title (max. three lines)</a:t>
            </a:r>
          </a:p>
        </p:txBody>
      </p:sp>
    </p:spTree>
    <p:extLst>
      <p:ext uri="{BB962C8B-B14F-4D97-AF65-F5344CB8AC3E}">
        <p14:creationId xmlns:p14="http://schemas.microsoft.com/office/powerpoint/2010/main" val="1433433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26664"/>
            <a:ext cx="11088000" cy="914096"/>
          </a:xfrm>
        </p:spPr>
        <p:txBody>
          <a:bodyPr/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Edit table of contents</a:t>
            </a:r>
          </a:p>
        </p:txBody>
      </p:sp>
      <p:sp>
        <p:nvSpPr>
          <p:cNvPr id="15" name="Picture Placeholder 1">
            <a:extLst>
              <a:ext uri="{FF2B5EF4-FFF2-40B4-BE49-F238E27FC236}">
                <a16:creationId xmlns:a16="http://schemas.microsoft.com/office/drawing/2014/main" id="{35F424A1-9BB3-B324-997B-7DA2CBB4B02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1384" y="1844824"/>
            <a:ext cx="2664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F5F6786-619A-37D6-0082-EDF4316174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4653136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8CA8EA4-F7B2-6078-77B7-8F2AB8EFAB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3412" y="4653136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77D9958F-D7E9-E341-64EF-0414563D58C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3359696" y="1844824"/>
            <a:ext cx="2664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5806D21-D8B0-D169-3BEA-BE646E92C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9696" y="4653136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1E53736-3FEA-0BB6-0AEC-B1FB5B19F9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1724" y="4653136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BF6F1D10-A4CD-E6DC-2DE0-E4703326D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168008" y="1844824"/>
            <a:ext cx="2664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98EB2553-2FBB-C46C-B935-78FBAF6AAD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68008" y="4653136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24CDD227-79BA-3E0A-A169-54BDF73EDD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20036" y="4653136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8EFC52AE-56A9-D690-BC97-D54E2DB805C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8976320" y="1844824"/>
            <a:ext cx="2664000" cy="266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45BFC4-DD57-EE1C-86D1-53BBE74E9E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76320" y="4653136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FA44FE0D-01E5-CFDE-EB9B-8D1C77A8F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228348" y="4653136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6CB62FDA-7C32-F694-6DE6-E1D01DA97A1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281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5D50F-1D29-0A8C-7D2F-39C35FCEA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26664"/>
            <a:ext cx="11088000" cy="914096"/>
          </a:xfrm>
        </p:spPr>
        <p:txBody>
          <a:bodyPr/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Edit table of contents</a:t>
            </a:r>
          </a:p>
        </p:txBody>
      </p:sp>
      <p:sp>
        <p:nvSpPr>
          <p:cNvPr id="15" name="Picture Placeholder 1">
            <a:extLst>
              <a:ext uri="{FF2B5EF4-FFF2-40B4-BE49-F238E27FC236}">
                <a16:creationId xmlns:a16="http://schemas.microsoft.com/office/drawing/2014/main" id="{35F424A1-9BB3-B324-997B-7DA2CBB4B02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1384" y="1844824"/>
            <a:ext cx="2664000" cy="122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F5F6786-619A-37D6-0082-EDF4316174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4" y="3213136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8CA8EA4-F7B2-6078-77B7-8F2AB8EFAB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3412" y="3213136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77D9958F-D7E9-E341-64EF-0414563D58C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3359696" y="1844824"/>
            <a:ext cx="2664000" cy="122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5806D21-D8B0-D169-3BEA-BE646E92C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9696" y="3213136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1E53736-3FEA-0BB6-0AEC-B1FB5B19F9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1724" y="3213136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BF6F1D10-A4CD-E6DC-2DE0-E4703326D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168008" y="1844824"/>
            <a:ext cx="2664000" cy="122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98EB2553-2FBB-C46C-B935-78FBAF6AAD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68008" y="3213136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24CDD227-79BA-3E0A-A169-54BDF73EDD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20036" y="3213136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8EFC52AE-56A9-D690-BC97-D54E2DB805C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8976320" y="1844824"/>
            <a:ext cx="2664000" cy="122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45BFC4-DD57-EE1C-86D1-53BBE74E9E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76320" y="3213136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FA44FE0D-01E5-CFDE-EB9B-8D1C77A8F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228348" y="3213136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87E83465-E936-9562-7382-58B2C6BC3AC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551384" y="3933056"/>
            <a:ext cx="2664000" cy="122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EE294DF-F384-A74E-EE39-69C112F65F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51384" y="5301368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3654B84-E40B-FCB1-3724-1DABC8B173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3384" y="5301368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26F7F342-6CB9-4537-438D-BA9E5446D5C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 bwMode="gray">
          <a:xfrm>
            <a:off x="3359696" y="3933056"/>
            <a:ext cx="2664000" cy="122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8586DED-D6C9-416B-DE95-E998EB5207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9696" y="5301368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CB2BFA5B-027E-0A7B-FD2A-AAC3CBC9749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611724" y="5301368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0F726FBF-CB4A-AF8D-5B1E-DCD4213344B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 bwMode="gray">
          <a:xfrm>
            <a:off x="6168008" y="3933056"/>
            <a:ext cx="2664000" cy="122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D0D834FA-1583-AE1B-9B41-FD20F66F22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68008" y="5301368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640CFF1-EE63-44B9-98DB-23D254A8FD2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420036" y="5301368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EAC21E38-8163-B540-E913-991D485220F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 bwMode="gray">
          <a:xfrm>
            <a:off x="8976320" y="3933056"/>
            <a:ext cx="2664000" cy="1224000"/>
          </a:xfrm>
          <a:solidFill>
            <a:schemeClr val="bg2"/>
          </a:solidFill>
        </p:spPr>
        <p:txBody>
          <a:bodyPr bIns="720000" anchor="ctr"/>
          <a:lstStyle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F29D8D5-6E5E-8B9E-0128-955D7E46C2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76320" y="5301368"/>
            <a:ext cx="216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0X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41AE9E9-C6DA-13DA-947A-F29639F2583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228348" y="5301368"/>
            <a:ext cx="2412000" cy="3960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chapter headline (maximum two lines)</a:t>
            </a:r>
          </a:p>
        </p:txBody>
      </p:sp>
      <p:pic>
        <p:nvPicPr>
          <p:cNvPr id="33" name="Logo">
            <a:extLst>
              <a:ext uri="{FF2B5EF4-FFF2-40B4-BE49-F238E27FC236}">
                <a16:creationId xmlns:a16="http://schemas.microsoft.com/office/drawing/2014/main" id="{7D38B19B-8E1F-2476-5E13-10CCDB1136E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7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7" pos="2026">
          <p15:clr>
            <a:srgbClr val="FBAE40"/>
          </p15:clr>
        </p15:guide>
        <p15:guide id="8" pos="2116">
          <p15:clr>
            <a:srgbClr val="FBAE40"/>
          </p15:clr>
        </p15:guide>
        <p15:guide id="9" pos="5564">
          <p15:clr>
            <a:srgbClr val="FBAE40"/>
          </p15:clr>
        </p15:guide>
        <p15:guide id="10" pos="565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73614C9-8ED5-B989-81A8-BFA1D5CAC7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25619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05" imgH="405" progId="TCLayout.ActiveDocument.1">
                  <p:embed/>
                </p:oleObj>
              </mc:Choice>
              <mc:Fallback>
                <p:oleObj name="think-cell Slide" r:id="rId44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3614C9-8ED5-B989-81A8-BFA1D5CAC7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ackground (Soft White)">
            <a:extLst>
              <a:ext uri="{FF2B5EF4-FFF2-40B4-BE49-F238E27FC236}">
                <a16:creationId xmlns:a16="http://schemas.microsoft.com/office/drawing/2014/main" id="{AA716554-F91F-95C6-1065-438A52A6D658}"/>
              </a:ext>
            </a:extLst>
          </p:cNvPr>
          <p:cNvSpPr/>
          <p:nvPr userDrawn="1"/>
        </p:nvSpPr>
        <p:spPr bwMode="hidden">
          <a:xfrm>
            <a:off x="-60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BCD9D9-86A4-E818-1FE4-D228D5CDB0B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1384" y="476672"/>
            <a:ext cx="110880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35B76263-23BE-7BB5-2901-CB711150768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51384" y="1844824"/>
            <a:ext cx="11088000" cy="421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8D872605-B8A3-4560-D1E5-773A17639E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168008" y="6433635"/>
            <a:ext cx="482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noProof="0"/>
              <a:t>CASSS Virtual Europe Discussion Group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CE6BD9B-B3F1-1D85-5718-E7D48314B4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2584" y="6433635"/>
            <a:ext cx="288032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EDD9F3E-8BFD-4E3C-98D1-767322780FD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55641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49" r:id="rId2"/>
    <p:sldLayoutId id="2147483684" r:id="rId3"/>
    <p:sldLayoutId id="2147483685" r:id="rId4"/>
    <p:sldLayoutId id="2147483671" r:id="rId5"/>
    <p:sldLayoutId id="2147483688" r:id="rId6"/>
    <p:sldLayoutId id="2147483689" r:id="rId7"/>
    <p:sldLayoutId id="2147483672" r:id="rId8"/>
    <p:sldLayoutId id="2147483673" r:id="rId9"/>
    <p:sldLayoutId id="2147483697" r:id="rId10"/>
    <p:sldLayoutId id="2147483651" r:id="rId11"/>
    <p:sldLayoutId id="2147483691" r:id="rId12"/>
    <p:sldLayoutId id="2147483679" r:id="rId13"/>
    <p:sldLayoutId id="2147483654" r:id="rId14"/>
    <p:sldLayoutId id="2147483655" r:id="rId15"/>
    <p:sldLayoutId id="2147483706" r:id="rId16"/>
    <p:sldLayoutId id="2147483657" r:id="rId17"/>
    <p:sldLayoutId id="2147483658" r:id="rId18"/>
    <p:sldLayoutId id="2147483704" r:id="rId19"/>
    <p:sldLayoutId id="2147483659" r:id="rId20"/>
    <p:sldLayoutId id="2147483705" r:id="rId21"/>
    <p:sldLayoutId id="2147483660" r:id="rId22"/>
    <p:sldLayoutId id="2147483661" r:id="rId23"/>
    <p:sldLayoutId id="2147483683" r:id="rId24"/>
    <p:sldLayoutId id="2147483663" r:id="rId25"/>
    <p:sldLayoutId id="2147483662" r:id="rId26"/>
    <p:sldLayoutId id="2147483665" r:id="rId27"/>
    <p:sldLayoutId id="2147483666" r:id="rId28"/>
    <p:sldLayoutId id="2147483693" r:id="rId29"/>
    <p:sldLayoutId id="2147483694" r:id="rId30"/>
    <p:sldLayoutId id="2147483669" r:id="rId31"/>
    <p:sldLayoutId id="2147483682" r:id="rId32"/>
    <p:sldLayoutId id="2147483680" r:id="rId33"/>
    <p:sldLayoutId id="2147483695" r:id="rId34"/>
    <p:sldLayoutId id="2147483696" r:id="rId35"/>
    <p:sldLayoutId id="2147483703" r:id="rId36"/>
    <p:sldLayoutId id="2147483708" r:id="rId37"/>
    <p:sldLayoutId id="2147483711" r:id="rId38"/>
    <p:sldLayoutId id="2147483712" r:id="rId39"/>
    <p:sldLayoutId id="2147483772" r:id="rId40"/>
    <p:sldLayoutId id="2147483773" r:id="rId4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4" orient="horz" pos="3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7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0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33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0.png"/><Relationship Id="rId2" Type="http://schemas.openxmlformats.org/officeDocument/2006/relationships/image" Target="../media/image330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Relationship Id="rId4" Type="http://schemas.openxmlformats.org/officeDocument/2006/relationships/image" Target="../media/image17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21/acs.molpharmaceut.4c00609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database.ich.org/sites/default/files/Q5C%20Guideline.pdf" TargetMode="Externa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>
            <a:extLst>
              <a:ext uri="{FF2B5EF4-FFF2-40B4-BE49-F238E27FC236}">
                <a16:creationId xmlns:a16="http://schemas.microsoft.com/office/drawing/2014/main" id="{FBA7C722-B78F-E562-4EAE-6A26179F6E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383" y="470857"/>
            <a:ext cx="8268767" cy="307777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dirty="0"/>
              <a:t>Drago Kuzma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D3ED6E-03AC-AEEF-C6E3-386FDF6B0E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385" y="3150321"/>
            <a:ext cx="3578655" cy="2659126"/>
          </a:xfrm>
        </p:spPr>
        <p:txBody>
          <a:bodyPr/>
          <a:lstStyle/>
          <a:p>
            <a:r>
              <a:rPr lang="en-US" dirty="0"/>
              <a:t>Accelerated Stability Prediction for Biotherapeutic</a:t>
            </a:r>
            <a:br>
              <a:rPr lang="en-US" dirty="0"/>
            </a:br>
            <a:br>
              <a:rPr lang="en-US" sz="2400" dirty="0"/>
            </a:br>
            <a:r>
              <a:rPr lang="en-US" sz="2400" dirty="0"/>
              <a:t>CASSS VEDG</a:t>
            </a:r>
            <a:endParaRPr lang="en-US" sz="2400" dirty="0">
              <a:cs typeface="Arial"/>
            </a:endParaRP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FB57433-85B4-D440-1482-99808F508617}"/>
              </a:ext>
            </a:extLst>
          </p:cNvPr>
          <p:cNvSpPr txBox="1">
            <a:spLocks/>
          </p:cNvSpPr>
          <p:nvPr/>
        </p:nvSpPr>
        <p:spPr bwMode="gray">
          <a:xfrm>
            <a:off x="7576123" y="383543"/>
            <a:ext cx="4464000" cy="3693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12-May 2026</a:t>
            </a:r>
            <a:endParaRPr lang="en-US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02E5280E-0130-0C13-7BF6-6ABDCDB2046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7158" b="7158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EC7F63-F287-3089-5039-1D6A170FFB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RA CMC,  TRD</a:t>
            </a:r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2384751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2892B-FF95-EB11-88C8-1F453521D5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476672"/>
            <a:ext cx="11088000" cy="830997"/>
          </a:xfrm>
        </p:spPr>
        <p:txBody>
          <a:bodyPr/>
          <a:lstStyle/>
          <a:p>
            <a:r>
              <a:rPr lang="en-US" dirty="0"/>
              <a:t>Accelerated Predictive Stability for Biologics </a:t>
            </a:r>
            <a:br>
              <a:rPr lang="en-US" dirty="0"/>
            </a:br>
            <a:endParaRPr lang="sl-SI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054810-3C27-B075-F809-2C7441EB1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SS Virtual Europe Discussion Group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3C86818-3253-CCA6-889B-930053CB115D}"/>
              </a:ext>
            </a:extLst>
          </p:cNvPr>
          <p:cNvCxnSpPr>
            <a:cxnSpLocks/>
          </p:cNvCxnSpPr>
          <p:nvPr/>
        </p:nvCxnSpPr>
        <p:spPr>
          <a:xfrm>
            <a:off x="479376" y="1789956"/>
            <a:ext cx="11293084" cy="0"/>
          </a:xfrm>
          <a:prstGeom prst="line">
            <a:avLst/>
          </a:prstGeom>
          <a:ln w="476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81E7726-A92B-89BC-9954-371BD24F633D}"/>
              </a:ext>
            </a:extLst>
          </p:cNvPr>
          <p:cNvSpPr txBox="1"/>
          <p:nvPr/>
        </p:nvSpPr>
        <p:spPr>
          <a:xfrm>
            <a:off x="2294834" y="1497457"/>
            <a:ext cx="3831084" cy="233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600" b="1"/>
              <a:t>Modellable stability indicating CQAs</a:t>
            </a:r>
            <a:endParaRPr lang="sl-SI" sz="1600" b="1"/>
          </a:p>
        </p:txBody>
      </p:sp>
      <p:sp>
        <p:nvSpPr>
          <p:cNvPr id="13" name="Rectangle: Folded Corner 12">
            <a:extLst>
              <a:ext uri="{FF2B5EF4-FFF2-40B4-BE49-F238E27FC236}">
                <a16:creationId xmlns:a16="http://schemas.microsoft.com/office/drawing/2014/main" id="{743C961A-06C2-4DD6-DE5D-30387F87FC74}"/>
              </a:ext>
            </a:extLst>
          </p:cNvPr>
          <p:cNvSpPr/>
          <p:nvPr/>
        </p:nvSpPr>
        <p:spPr>
          <a:xfrm>
            <a:off x="8947035" y="2162848"/>
            <a:ext cx="2044973" cy="2034573"/>
          </a:xfrm>
          <a:prstGeom prst="foldedCorner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 anchorCtr="0"/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US" b="1">
                <a:solidFill>
                  <a:schemeClr val="accent6">
                    <a:lumMod val="25000"/>
                  </a:schemeClr>
                </a:solidFill>
              </a:rPr>
              <a:t>Risk Assessment </a:t>
            </a:r>
            <a:r>
              <a:rPr lang="en-US">
                <a:solidFill>
                  <a:schemeClr val="accent6">
                    <a:lumMod val="25000"/>
                  </a:schemeClr>
                </a:solidFill>
              </a:rPr>
              <a:t>based on prior data and knowledge</a:t>
            </a:r>
            <a:endParaRPr lang="sl-SI" err="1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192864-B87B-2844-AE60-44415EA3D8AA}"/>
              </a:ext>
            </a:extLst>
          </p:cNvPr>
          <p:cNvSpPr txBox="1"/>
          <p:nvPr/>
        </p:nvSpPr>
        <p:spPr>
          <a:xfrm>
            <a:off x="7941376" y="1507756"/>
            <a:ext cx="3831084" cy="233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600" b="1"/>
              <a:t>Non-Modellable stability indicating CQAs</a:t>
            </a:r>
            <a:endParaRPr lang="sl-SI" sz="1600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4EDC6A-04AA-A80E-3427-FD0158024193}"/>
              </a:ext>
            </a:extLst>
          </p:cNvPr>
          <p:cNvSpPr txBox="1"/>
          <p:nvPr/>
        </p:nvSpPr>
        <p:spPr>
          <a:xfrm>
            <a:off x="800451" y="5104178"/>
            <a:ext cx="10423809" cy="9335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b="1" dirty="0"/>
              <a:t>Reliable degradation model for most of QAs: Arrhenius based First-order (exponential) kinetic </a:t>
            </a:r>
            <a:r>
              <a:rPr lang="en-US" dirty="0"/>
              <a:t>model</a:t>
            </a:r>
          </a:p>
          <a:p>
            <a:pPr algn="l">
              <a:spcBef>
                <a:spcPts val="800"/>
              </a:spcBef>
            </a:pPr>
            <a:r>
              <a:rPr lang="en-US" b="1" dirty="0">
                <a:solidFill>
                  <a:schemeClr val="accent1"/>
                </a:solidFill>
              </a:rPr>
              <a:t>Key assumption: </a:t>
            </a:r>
            <a:r>
              <a:rPr lang="en-US" dirty="0"/>
              <a:t>The model is trained using data generated under accelerated conditions, where the </a:t>
            </a:r>
            <a:r>
              <a:rPr lang="en-US" b="1" dirty="0"/>
              <a:t>dominant degradation mechanism is the same </a:t>
            </a:r>
            <a:r>
              <a:rPr lang="en-US" dirty="0"/>
              <a:t>as under the intended storage condition.</a:t>
            </a:r>
            <a:endParaRPr lang="sl-SI" dirty="0" err="1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2FE954-535C-40F7-61DD-E1E966B59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1505" y="2040507"/>
            <a:ext cx="6749871" cy="2950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9974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13AC5-2EDD-8D54-1E66-C87AB28BB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4B26E-5B38-BF13-A2DE-53E1FFF33E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3872"/>
            <a:ext cx="6569506" cy="446470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Validation of Arrhenius Assumption Across All Conditions Used For Model Training</a:t>
            </a:r>
            <a:endParaRPr lang="sl-SI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9D76C9-C04D-0F84-7C07-0D5636F59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CASSS Virtual Europe Discussion Group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18B528-0AF5-AB13-B584-A7B2BE9799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4670894" y="2528862"/>
            <a:ext cx="3490126" cy="277792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94EA031-667B-2448-E0B9-D6221789AF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900" y="2107187"/>
            <a:ext cx="4026838" cy="32797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8A33029-B926-7DFE-B408-A2698DA635D9}"/>
              </a:ext>
            </a:extLst>
          </p:cNvPr>
          <p:cNvSpPr txBox="1"/>
          <p:nvPr/>
        </p:nvSpPr>
        <p:spPr>
          <a:xfrm>
            <a:off x="632682" y="5828602"/>
            <a:ext cx="510867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i="0" u="none" strike="noStrike" baseline="0" dirty="0"/>
              <a:t>2021 Kuzman et al. Scientific Reports </a:t>
            </a:r>
            <a:r>
              <a:rPr lang="sl-SI" sz="1000" i="0" u="none" strike="noStrike" baseline="0" dirty="0"/>
              <a:t>https://doi.org/10.1038/s41598-021-99875-9</a:t>
            </a:r>
            <a:endParaRPr lang="sl-SI" sz="100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D5C1D06-FA3D-5751-C2CC-934FF22225EF}"/>
              </a:ext>
            </a:extLst>
          </p:cNvPr>
          <p:cNvSpPr/>
          <p:nvPr/>
        </p:nvSpPr>
        <p:spPr>
          <a:xfrm>
            <a:off x="8546654" y="4069080"/>
            <a:ext cx="3092730" cy="18826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E7A3B7AB-FB26-3439-9AAE-652687C610E9}"/>
                  </a:ext>
                </a:extLst>
              </p:cNvPr>
              <p:cNvSpPr txBox="1"/>
              <p:nvPr/>
            </p:nvSpPr>
            <p:spPr>
              <a:xfrm>
                <a:off x="8546654" y="5094171"/>
                <a:ext cx="3193612" cy="85754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sl-SI" sz="2000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𝒍𝒏</m:t>
                      </m:r>
                      <m:d>
                        <m:dPr>
                          <m:ctrlPr>
                            <a:rPr lang="sl-SI" sz="2000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sl-SI" sz="2000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𝒌</m:t>
                          </m:r>
                        </m:e>
                      </m:d>
                      <m:r>
                        <a:rPr lang="en-US" sz="2000" b="1" i="1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sl-SI" sz="2000" b="1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𝒍𝒏</m:t>
                      </m:r>
                      <m:r>
                        <a:rPr lang="sl-SI" sz="2000" b="1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 </m:t>
                      </m:r>
                      <m:d>
                        <m:dPr>
                          <m:ctrlPr>
                            <a:rPr lang="sl-SI" sz="2000" b="1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sl-SI" sz="2000" b="1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𝑨</m:t>
                          </m:r>
                        </m:e>
                      </m:d>
                      <m:r>
                        <a:rPr lang="sl-SI" sz="2000" b="1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f>
                        <m:fPr>
                          <m:ctrlPr>
                            <a:rPr lang="en-US" sz="2000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000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𝑬</m:t>
                          </m:r>
                          <m:r>
                            <a:rPr lang="en-US" sz="2000" b="1" i="1" baseline="-250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𝒂</m:t>
                          </m:r>
                        </m:num>
                        <m:den>
                          <m:r>
                            <a:rPr lang="en-US" sz="2000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𝑹</m:t>
                          </m:r>
                        </m:den>
                      </m:f>
                      <m:r>
                        <a:rPr lang="en-US" sz="2000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f>
                        <m:fPr>
                          <m:ctrlPr>
                            <a:rPr lang="en-US" sz="20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sl-SI" sz="2000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  <m:t>𝟏</m:t>
                          </m:r>
                        </m:num>
                        <m:den>
                          <m:r>
                            <a:rPr lang="en-US" sz="2000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𝑻</m:t>
                          </m:r>
                        </m:den>
                      </m:f>
                      <m:r>
                        <a:rPr lang="sl-SI" sz="2000" b="1" i="1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sz="2000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E7A3B7AB-FB26-3439-9AAE-652687C610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46654" y="5094171"/>
                <a:ext cx="3193612" cy="85754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C1195E83-78DB-C144-58EC-62BBF1EA7B58}"/>
              </a:ext>
            </a:extLst>
          </p:cNvPr>
          <p:cNvSpPr txBox="1"/>
          <p:nvPr/>
        </p:nvSpPr>
        <p:spPr>
          <a:xfrm>
            <a:off x="8831406" y="4247193"/>
            <a:ext cx="3193612" cy="9335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b="1" dirty="0"/>
              <a:t>Arrhenius plot</a:t>
            </a:r>
          </a:p>
          <a:p>
            <a:pPr algn="l">
              <a:spcBef>
                <a:spcPts val="800"/>
              </a:spcBef>
            </a:pPr>
            <a:r>
              <a:rPr lang="en-US" dirty="0"/>
              <a:t>graphical representation of Arrhenius equation</a:t>
            </a:r>
            <a:endParaRPr lang="sl-SI" dirty="0" err="1"/>
          </a:p>
        </p:txBody>
      </p:sp>
    </p:spTree>
    <p:extLst>
      <p:ext uri="{BB962C8B-B14F-4D97-AF65-F5344CB8AC3E}">
        <p14:creationId xmlns:p14="http://schemas.microsoft.com/office/powerpoint/2010/main" val="19479131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EFAC8-BE4E-FFEC-D3F5-ABBC96B04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aggregation mechanism at higher temperature</a:t>
            </a:r>
            <a:endParaRPr lang="sl-SI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C3D311-0AC2-8E75-D643-64F8A5F5EA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7A704E0-238A-AF58-51E6-43198FBE6CD1}"/>
              </a:ext>
            </a:extLst>
          </p:cNvPr>
          <p:cNvSpPr txBox="1"/>
          <p:nvPr/>
        </p:nvSpPr>
        <p:spPr>
          <a:xfrm>
            <a:off x="2782570" y="5934530"/>
            <a:ext cx="5512728" cy="1754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Zidar et at., Scientific Reports 2025, </a:t>
            </a:r>
            <a:r>
              <a:rPr lang="sl-SI" sz="1200" dirty="0"/>
              <a:t>https://doi.org/10.1038/s41598-025-07037-y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C035A16-0AE3-73EB-F480-77EE5BF4478D}"/>
              </a:ext>
            </a:extLst>
          </p:cNvPr>
          <p:cNvGrpSpPr/>
          <p:nvPr/>
        </p:nvGrpSpPr>
        <p:grpSpPr>
          <a:xfrm>
            <a:off x="2001789" y="1337484"/>
            <a:ext cx="6850227" cy="4273374"/>
            <a:chOff x="687339" y="1337484"/>
            <a:chExt cx="6850227" cy="427337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1D995B0-2932-13F6-E73C-E2C689A717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7950" t="52743"/>
            <a:stretch>
              <a:fillRect/>
            </a:stretch>
          </p:blipFill>
          <p:spPr>
            <a:xfrm>
              <a:off x="687339" y="1337484"/>
              <a:ext cx="6850227" cy="4273374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D57C6E4-3454-9A1A-00AB-A05726539486}"/>
                </a:ext>
              </a:extLst>
            </p:cNvPr>
            <p:cNvSpPr txBox="1"/>
            <p:nvPr/>
          </p:nvSpPr>
          <p:spPr>
            <a:xfrm>
              <a:off x="3289798" y="2362200"/>
              <a:ext cx="488916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800" dirty="0">
                  <a:solidFill>
                    <a:srgbClr val="D78B93"/>
                  </a:solidFill>
                </a:rPr>
                <a:t>Ea</a:t>
              </a:r>
              <a:r>
                <a:rPr lang="en-US" sz="2800" baseline="-25000" dirty="0">
                  <a:solidFill>
                    <a:srgbClr val="D78B93"/>
                  </a:solidFill>
                </a:rPr>
                <a:t>1</a:t>
              </a:r>
              <a:endParaRPr lang="sl-SI" sz="2800" baseline="-25000" dirty="0" err="1">
                <a:solidFill>
                  <a:srgbClr val="D78B93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C6163CA-DB1C-CEEB-0644-945C37BBA66B}"/>
                </a:ext>
              </a:extLst>
            </p:cNvPr>
            <p:cNvSpPr txBox="1"/>
            <p:nvPr/>
          </p:nvSpPr>
          <p:spPr>
            <a:xfrm>
              <a:off x="5167399" y="3384254"/>
              <a:ext cx="538609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800" dirty="0">
                  <a:solidFill>
                    <a:srgbClr val="8CD2D7"/>
                  </a:solidFill>
                </a:rPr>
                <a:t>Ea</a:t>
              </a:r>
              <a:r>
                <a:rPr lang="en-US" sz="2800" baseline="-25000" dirty="0">
                  <a:solidFill>
                    <a:srgbClr val="8CD2D7"/>
                  </a:solidFill>
                </a:rPr>
                <a:t>2</a:t>
              </a:r>
              <a:endParaRPr lang="sl-SI" sz="2800" baseline="-25000" dirty="0" err="1">
                <a:solidFill>
                  <a:srgbClr val="8CD2D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8178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8CDE3-2802-D1B8-F15F-A86C158D0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476672"/>
            <a:ext cx="11088000" cy="415498"/>
          </a:xfrm>
        </p:spPr>
        <p:txBody>
          <a:bodyPr/>
          <a:lstStyle/>
          <a:p>
            <a:r>
              <a:rPr lang="sl-SI" dirty="0" err="1"/>
              <a:t>Aggregation</a:t>
            </a:r>
            <a:r>
              <a:rPr lang="en-US" dirty="0"/>
              <a:t> modeling (option 1): </a:t>
            </a:r>
            <a:r>
              <a:rPr lang="en-US" dirty="0">
                <a:solidFill>
                  <a:schemeClr val="accent1"/>
                </a:solidFill>
              </a:rPr>
              <a:t>Two Steps Kinetics model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D8C06AD8-E07F-E369-6765-72BE60DEF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ASSS Virtual Europe Discussion Group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50F5ABB-594E-3FDE-EBA5-8EE3AD2A91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7037" y="1654288"/>
            <a:ext cx="4516838" cy="391353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7743E0E-26D0-24C4-40DD-72BBB3937644}"/>
              </a:ext>
            </a:extLst>
          </p:cNvPr>
          <p:cNvSpPr txBox="1"/>
          <p:nvPr/>
        </p:nvSpPr>
        <p:spPr>
          <a:xfrm>
            <a:off x="1277037" y="5636648"/>
            <a:ext cx="7315818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1333" dirty="0">
                <a:solidFill>
                  <a:srgbClr val="131413"/>
                </a:solidFill>
              </a:rPr>
              <a:t>Wang &amp; Roberts:</a:t>
            </a:r>
            <a:r>
              <a:rPr lang="en-US" sz="1333" dirty="0">
                <a:solidFill>
                  <a:srgbClr val="131413"/>
                </a:solidFill>
              </a:rPr>
              <a:t>, </a:t>
            </a:r>
            <a:r>
              <a:rPr lang="en-US" sz="1333" i="1" dirty="0">
                <a:solidFill>
                  <a:srgbClr val="131413"/>
                </a:solidFill>
              </a:rPr>
              <a:t>Non-Arrhenius Protein Aggregation</a:t>
            </a:r>
            <a:r>
              <a:rPr lang="en-US" sz="1333" dirty="0">
                <a:solidFill>
                  <a:srgbClr val="131413"/>
                </a:solidFill>
              </a:rPr>
              <a:t>, AAPS Journal, Vol. 15, No. 3, July 2013</a:t>
            </a:r>
            <a:endParaRPr lang="en-US" sz="1333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66486E-51EC-065B-A007-223A6479172C}"/>
              </a:ext>
            </a:extLst>
          </p:cNvPr>
          <p:cNvSpPr txBox="1"/>
          <p:nvPr/>
        </p:nvSpPr>
        <p:spPr>
          <a:xfrm>
            <a:off x="3070399" y="1284956"/>
            <a:ext cx="153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: 5°C - 65°C</a:t>
            </a:r>
            <a:endParaRPr lang="sl-SI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ZoneTexte 12">
                <a:extLst>
                  <a:ext uri="{FF2B5EF4-FFF2-40B4-BE49-F238E27FC236}">
                    <a16:creationId xmlns:a16="http://schemas.microsoft.com/office/drawing/2014/main" id="{15D53D28-A2C4-10D9-F1FD-8E2310DEA235}"/>
                  </a:ext>
                </a:extLst>
              </p:cNvPr>
              <p:cNvSpPr txBox="1"/>
              <p:nvPr/>
            </p:nvSpPr>
            <p:spPr>
              <a:xfrm>
                <a:off x="5348614" y="3532340"/>
                <a:ext cx="6488482" cy="1670970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𝜶</m:t>
                          </m:r>
                        </m:num>
                        <m:den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𝒕</m:t>
                          </m:r>
                        </m:den>
                      </m:f>
                      <m:r>
                        <a:rPr lang="en-US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𝒗</m:t>
                      </m:r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b>
                        <m:sSub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𝑨</m:t>
                          </m:r>
                        </m:e>
                        <m:sub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𝟏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func>
                        <m:func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uncPr>
                        <m:fName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𝒆𝒙𝒑</m:t>
                          </m:r>
                        </m:fName>
                        <m:e>
                          <m:d>
                            <m:dPr>
                              <m:ctrlP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MS Mincho" panose="02020609040205080304" pitchFamily="49" charset="-128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MS Mincho" panose="02020609040205080304" pitchFamily="49" charset="-128"/>
                                      <a:cs typeface="Arial" panose="020B0604020202020204" pitchFamily="34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𝑬</m:t>
                                  </m:r>
                                  <m:r>
                                    <a:rPr lang="en-US" sz="1600" b="1" i="1" baseline="-250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𝒂</m:t>
                                  </m:r>
                                  <m:r>
                                    <a:rPr lang="en-US" sz="1600" b="1" i="1" baseline="-250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</m:num>
                                <m:den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𝑹𝑻</m:t>
                                  </m:r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−</m:t>
                                  </m:r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𝜶</m:t>
                                  </m:r>
                                </m:e>
                                <m:sub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𝒏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𝜶</m:t>
                              </m:r>
                            </m:e>
                            <m:sub>
                              <m: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𝟏</m:t>
                              </m:r>
                            </m:sub>
                          </m:sSub>
                        </m:e>
                        <m:sup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𝒎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𝑪</m:t>
                          </m:r>
                        </m:e>
                        <m:sup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𝒑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</m:oMath>
                  </m:oMathPara>
                </a14:m>
                <a:endParaRPr lang="en-US" sz="1600" b="1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</m:oMath>
                  </m:oMathPara>
                </a14:m>
                <a:endParaRPr lang="en-US" sz="1600" b="1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𝒗</m:t>
                          </m:r>
                        </m:e>
                      </m:d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b>
                        <m:sSub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𝑨</m:t>
                          </m:r>
                        </m:e>
                        <m:sub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𝟐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func>
                        <m:func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uncPr>
                        <m:fName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𝒆𝒙𝒑</m:t>
                          </m:r>
                        </m:fName>
                        <m:e>
                          <m:d>
                            <m:dPr>
                              <m:ctrlP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MS Mincho" panose="02020609040205080304" pitchFamily="49" charset="-128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MS Mincho" panose="02020609040205080304" pitchFamily="49" charset="-128"/>
                                      <a:cs typeface="Arial" panose="020B0604020202020204" pitchFamily="34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𝑬</m:t>
                                  </m:r>
                                  <m:r>
                                    <a:rPr lang="en-US" sz="1600" b="1" i="1" baseline="-250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𝒂</m:t>
                                  </m:r>
                                  <m:r>
                                    <a:rPr lang="en-US" sz="1600" b="1" i="1" baseline="-250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𝟐</m:t>
                                  </m:r>
                                </m:num>
                                <m:den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𝑹𝑻</m:t>
                                  </m:r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r>
                        <a:rPr lang="en-US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 </m:t>
                      </m:r>
                      <m:sSup>
                        <m:sSup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−</m:t>
                                  </m:r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𝜶</m:t>
                                  </m:r>
                                </m:e>
                                <m:sub>
                                  <m:r>
                                    <a:rPr lang="en-US" sz="1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𝟐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𝒏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𝜶</m:t>
                              </m:r>
                            </m:e>
                            <m:sub>
                              <m:r>
                                <a:rPr lang="en-US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𝟐</m:t>
                              </m:r>
                            </m:sub>
                          </m:sSub>
                        </m:e>
                        <m:sup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𝒎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𝑪</m:t>
                          </m:r>
                        </m:e>
                        <m:sup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𝒑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" name="ZoneTexte 12">
                <a:extLst>
                  <a:ext uri="{FF2B5EF4-FFF2-40B4-BE49-F238E27FC236}">
                    <a16:creationId xmlns:a16="http://schemas.microsoft.com/office/drawing/2014/main" id="{15D53D28-A2C4-10D9-F1FD-8E2310DEA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48614" y="3532340"/>
                <a:ext cx="6488482" cy="167097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5D8B75DA-6667-0863-B3B2-350EF7C31FAB}"/>
              </a:ext>
            </a:extLst>
          </p:cNvPr>
          <p:cNvSpPr txBox="1"/>
          <p:nvPr/>
        </p:nvSpPr>
        <p:spPr>
          <a:xfrm>
            <a:off x="6168008" y="2647601"/>
            <a:ext cx="49162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ggregation profiles can be modeled by using two steps Advanced Kinetic modeling: </a:t>
            </a:r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11656154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C465D6E-CC03-43BC-A03C-CC2468E78F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000" y="4159576"/>
            <a:ext cx="2883168" cy="1920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394B3-1CE6-42BB-886B-22BF8759BD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ASSS Virtual Europe Discussion Group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7D8E71-E13F-41DA-AE75-93B7165DA7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2333" y="1459732"/>
            <a:ext cx="3165691" cy="208232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7F6822C-22BE-483A-952C-B0A1EB529662}"/>
              </a:ext>
            </a:extLst>
          </p:cNvPr>
          <p:cNvSpPr txBox="1"/>
          <p:nvPr/>
        </p:nvSpPr>
        <p:spPr>
          <a:xfrm>
            <a:off x="1537774" y="3913354"/>
            <a:ext cx="1879041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sl-SI" sz="1600" dirty="0"/>
              <a:t>T [5 - 50 °C]</a:t>
            </a:r>
          </a:p>
          <a:p>
            <a:pPr algn="ctr"/>
            <a:r>
              <a:rPr lang="sl-SI" sz="1600" dirty="0" err="1"/>
              <a:t>Ea</a:t>
            </a:r>
            <a:r>
              <a:rPr lang="sl-SI" sz="1600" dirty="0"/>
              <a:t> = 59.6 kcal/mo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8F368F-C509-1CF0-310A-09EA65F7B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745" y="457202"/>
            <a:ext cx="11480800" cy="415498"/>
          </a:xfrm>
        </p:spPr>
        <p:txBody>
          <a:bodyPr/>
          <a:lstStyle/>
          <a:p>
            <a:r>
              <a:rPr lang="sl-SI" dirty="0" err="1"/>
              <a:t>Aggregation</a:t>
            </a:r>
            <a:r>
              <a:rPr lang="en-US" dirty="0"/>
              <a:t> modeling (option 2): </a:t>
            </a:r>
            <a:r>
              <a:rPr lang="en-US" dirty="0">
                <a:solidFill>
                  <a:schemeClr val="accent1"/>
                </a:solidFill>
              </a:rPr>
              <a:t>First Order Kinetics Mod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1244EF-1868-6CA0-A165-8E93F963DAB1}"/>
              </a:ext>
            </a:extLst>
          </p:cNvPr>
          <p:cNvSpPr txBox="1"/>
          <p:nvPr/>
        </p:nvSpPr>
        <p:spPr>
          <a:xfrm>
            <a:off x="3748833" y="1234953"/>
            <a:ext cx="1409344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l-SI" sz="1600" dirty="0" err="1"/>
              <a:t>Accelerated</a:t>
            </a:r>
            <a:r>
              <a:rPr lang="sl-SI" sz="1600" dirty="0"/>
              <a:t> </a:t>
            </a:r>
            <a:r>
              <a:rPr lang="sl-SI" sz="1600" dirty="0" err="1"/>
              <a:t>stability</a:t>
            </a:r>
            <a:r>
              <a:rPr lang="sl-SI" sz="1600" dirty="0"/>
              <a:t> data</a:t>
            </a:r>
          </a:p>
        </p:txBody>
      </p:sp>
      <p:pic>
        <p:nvPicPr>
          <p:cNvPr id="3" name="Picture 2" descr="A graph with blue dots&#10;&#10;Description automatically generated">
            <a:extLst>
              <a:ext uri="{FF2B5EF4-FFF2-40B4-BE49-F238E27FC236}">
                <a16:creationId xmlns:a16="http://schemas.microsoft.com/office/drawing/2014/main" id="{C519CF94-8DBE-FC24-BEB2-481372E7010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371"/>
          <a:stretch/>
        </p:blipFill>
        <p:spPr>
          <a:xfrm>
            <a:off x="6842863" y="1314468"/>
            <a:ext cx="2743259" cy="2468565"/>
          </a:xfrm>
          <a:prstGeom prst="rect">
            <a:avLst/>
          </a:prstGeom>
        </p:spPr>
      </p:pic>
      <p:sp>
        <p:nvSpPr>
          <p:cNvPr id="2" name="Arrow: Down 1">
            <a:extLst>
              <a:ext uri="{FF2B5EF4-FFF2-40B4-BE49-F238E27FC236}">
                <a16:creationId xmlns:a16="http://schemas.microsoft.com/office/drawing/2014/main" id="{E5B7F471-F1DC-E051-FB82-328DDD9C8839}"/>
              </a:ext>
            </a:extLst>
          </p:cNvPr>
          <p:cNvSpPr/>
          <p:nvPr/>
        </p:nvSpPr>
        <p:spPr>
          <a:xfrm rot="16200000">
            <a:off x="5591123" y="2185785"/>
            <a:ext cx="1572508" cy="643793"/>
          </a:xfrm>
          <a:prstGeom prst="downArrow">
            <a:avLst>
              <a:gd name="adj1" fmla="val 65741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l-SI" sz="1600" dirty="0"/>
              <a:t>Arrhenius plot</a:t>
            </a:r>
            <a:endParaRPr lang="en-US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B6ABBE-EE01-C9A5-1778-EB970FB3BF72}"/>
              </a:ext>
            </a:extLst>
          </p:cNvPr>
          <p:cNvSpPr txBox="1"/>
          <p:nvPr/>
        </p:nvSpPr>
        <p:spPr>
          <a:xfrm>
            <a:off x="1908908" y="6079576"/>
            <a:ext cx="10973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sz="1200" dirty="0" err="1">
                <a:solidFill>
                  <a:schemeClr val="accent1"/>
                </a:solidFill>
              </a:rPr>
              <a:t>undersestimated</a:t>
            </a:r>
            <a:endParaRPr lang="sl-SI" sz="1200" dirty="0" err="1">
              <a:solidFill>
                <a:schemeClr val="accent1"/>
              </a:solidFill>
            </a:endParaRPr>
          </a:p>
        </p:txBody>
      </p:sp>
      <p:pic>
        <p:nvPicPr>
          <p:cNvPr id="14" name="Graphic 13" descr="Close with solid fill">
            <a:extLst>
              <a:ext uri="{FF2B5EF4-FFF2-40B4-BE49-F238E27FC236}">
                <a16:creationId xmlns:a16="http://schemas.microsoft.com/office/drawing/2014/main" id="{5411B23D-D638-8DC7-D248-D1E0EE7DD7F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59539" y="5931790"/>
            <a:ext cx="385882" cy="385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736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C465D6E-CC03-43BC-A03C-CC2468E78F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000" y="4159576"/>
            <a:ext cx="2883168" cy="192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BC63759-0CAD-4D07-A3F6-D7F162BFD7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5179" y="4230080"/>
            <a:ext cx="2870432" cy="1920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394B3-1CE6-42BB-886B-22BF8759BD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ASSS Virtual Europe Discussion Group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7D8E71-E13F-41DA-AE75-93B7165DA7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2333" y="1459732"/>
            <a:ext cx="3165691" cy="208232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7F6822C-22BE-483A-952C-B0A1EB529662}"/>
              </a:ext>
            </a:extLst>
          </p:cNvPr>
          <p:cNvSpPr txBox="1"/>
          <p:nvPr/>
        </p:nvSpPr>
        <p:spPr>
          <a:xfrm>
            <a:off x="1537774" y="3913354"/>
            <a:ext cx="1879041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sl-SI" sz="1600" dirty="0"/>
              <a:t>T [5 - 50 °C]</a:t>
            </a:r>
          </a:p>
          <a:p>
            <a:pPr algn="ctr"/>
            <a:r>
              <a:rPr lang="sl-SI" sz="1600" dirty="0" err="1"/>
              <a:t>Ea</a:t>
            </a:r>
            <a:r>
              <a:rPr lang="sl-SI" sz="1600" dirty="0"/>
              <a:t> = 59.6 kcal/mo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950C77-4D6C-46E7-A7F5-FEC5F92637B7}"/>
              </a:ext>
            </a:extLst>
          </p:cNvPr>
          <p:cNvSpPr txBox="1"/>
          <p:nvPr/>
        </p:nvSpPr>
        <p:spPr>
          <a:xfrm>
            <a:off x="4905708" y="3851799"/>
            <a:ext cx="1879041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sl-SI" sz="1600" dirty="0"/>
              <a:t>T [5 - 45 °C]</a:t>
            </a:r>
          </a:p>
          <a:p>
            <a:pPr algn="ctr"/>
            <a:r>
              <a:rPr lang="sl-SI" sz="1600" dirty="0" err="1"/>
              <a:t>Ea</a:t>
            </a:r>
            <a:r>
              <a:rPr lang="sl-SI" sz="1600" dirty="0"/>
              <a:t> = 54.0 kcal/mol</a:t>
            </a:r>
            <a:endParaRPr lang="sl-SI" sz="1600" dirty="0">
              <a:solidFill>
                <a:srgbClr val="FF0000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8F368F-C509-1CF0-310A-09EA65F7B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1480800" cy="415498"/>
          </a:xfrm>
        </p:spPr>
        <p:txBody>
          <a:bodyPr/>
          <a:lstStyle/>
          <a:p>
            <a:r>
              <a:rPr lang="sl-SI" dirty="0" err="1"/>
              <a:t>Aggregation</a:t>
            </a:r>
            <a:r>
              <a:rPr lang="en-US" dirty="0"/>
              <a:t> modeling (option 2): </a:t>
            </a:r>
            <a:r>
              <a:rPr lang="en-US" dirty="0">
                <a:solidFill>
                  <a:schemeClr val="accent1"/>
                </a:solidFill>
              </a:rPr>
              <a:t>First Order Kinetics Model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1244EF-1868-6CA0-A165-8E93F963DAB1}"/>
              </a:ext>
            </a:extLst>
          </p:cNvPr>
          <p:cNvSpPr txBox="1"/>
          <p:nvPr/>
        </p:nvSpPr>
        <p:spPr>
          <a:xfrm>
            <a:off x="3748833" y="1234953"/>
            <a:ext cx="1409344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l-SI" sz="1600" dirty="0" err="1"/>
              <a:t>Accelerated</a:t>
            </a:r>
            <a:r>
              <a:rPr lang="sl-SI" sz="1600" dirty="0"/>
              <a:t> </a:t>
            </a:r>
            <a:r>
              <a:rPr lang="sl-SI" sz="1600" dirty="0" err="1"/>
              <a:t>stability</a:t>
            </a:r>
            <a:r>
              <a:rPr lang="sl-SI" sz="1600" dirty="0"/>
              <a:t> data</a:t>
            </a:r>
          </a:p>
        </p:txBody>
      </p:sp>
      <p:pic>
        <p:nvPicPr>
          <p:cNvPr id="3" name="Picture 2" descr="A graph with blue dots&#10;&#10;Description automatically generated">
            <a:extLst>
              <a:ext uri="{FF2B5EF4-FFF2-40B4-BE49-F238E27FC236}">
                <a16:creationId xmlns:a16="http://schemas.microsoft.com/office/drawing/2014/main" id="{C519CF94-8DBE-FC24-BEB2-481372E7010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371"/>
          <a:stretch/>
        </p:blipFill>
        <p:spPr>
          <a:xfrm>
            <a:off x="6842863" y="1314468"/>
            <a:ext cx="2743259" cy="2468565"/>
          </a:xfrm>
          <a:prstGeom prst="rect">
            <a:avLst/>
          </a:prstGeom>
        </p:spPr>
      </p:pic>
      <p:sp>
        <p:nvSpPr>
          <p:cNvPr id="2" name="Arrow: Down 1">
            <a:extLst>
              <a:ext uri="{FF2B5EF4-FFF2-40B4-BE49-F238E27FC236}">
                <a16:creationId xmlns:a16="http://schemas.microsoft.com/office/drawing/2014/main" id="{E5B7F471-F1DC-E051-FB82-328DDD9C8839}"/>
              </a:ext>
            </a:extLst>
          </p:cNvPr>
          <p:cNvSpPr/>
          <p:nvPr/>
        </p:nvSpPr>
        <p:spPr>
          <a:xfrm rot="16200000">
            <a:off x="5591123" y="2185785"/>
            <a:ext cx="1572508" cy="643793"/>
          </a:xfrm>
          <a:prstGeom prst="downArrow">
            <a:avLst>
              <a:gd name="adj1" fmla="val 65741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l-SI" sz="1600" dirty="0"/>
              <a:t>Arrhenius plot</a:t>
            </a:r>
            <a:endParaRPr lang="en-US" sz="1600" dirty="0"/>
          </a:p>
        </p:txBody>
      </p:sp>
      <p:sp>
        <p:nvSpPr>
          <p:cNvPr id="7" name="Multiplication Sign 6">
            <a:extLst>
              <a:ext uri="{FF2B5EF4-FFF2-40B4-BE49-F238E27FC236}">
                <a16:creationId xmlns:a16="http://schemas.microsoft.com/office/drawing/2014/main" id="{6F948981-37D2-F4C5-5843-65627C8DF38F}"/>
              </a:ext>
            </a:extLst>
          </p:cNvPr>
          <p:cNvSpPr/>
          <p:nvPr/>
        </p:nvSpPr>
        <p:spPr>
          <a:xfrm>
            <a:off x="7053527" y="1159624"/>
            <a:ext cx="474211" cy="503472"/>
          </a:xfrm>
          <a:prstGeom prst="mathMultiply">
            <a:avLst>
              <a:gd name="adj1" fmla="val 11277"/>
            </a:avLst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098864-5351-BCD3-165A-2A7A9D76A67F}"/>
              </a:ext>
            </a:extLst>
          </p:cNvPr>
          <p:cNvSpPr txBox="1"/>
          <p:nvPr/>
        </p:nvSpPr>
        <p:spPr>
          <a:xfrm>
            <a:off x="1908908" y="6079576"/>
            <a:ext cx="10973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sz="1200" dirty="0" err="1">
                <a:solidFill>
                  <a:schemeClr val="accent1"/>
                </a:solidFill>
              </a:rPr>
              <a:t>undersestimated</a:t>
            </a:r>
            <a:endParaRPr lang="sl-SI" sz="1200" dirty="0" err="1">
              <a:solidFill>
                <a:schemeClr val="accent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55893D-EB07-D48F-8104-539D2B29B840}"/>
              </a:ext>
            </a:extLst>
          </p:cNvPr>
          <p:cNvSpPr txBox="1"/>
          <p:nvPr/>
        </p:nvSpPr>
        <p:spPr>
          <a:xfrm>
            <a:off x="4795129" y="6093430"/>
            <a:ext cx="10973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sz="1200" dirty="0" err="1">
                <a:solidFill>
                  <a:schemeClr val="accent1"/>
                </a:solidFill>
              </a:rPr>
              <a:t>undersestimated</a:t>
            </a:r>
            <a:endParaRPr lang="sl-SI" sz="1200" dirty="0" err="1">
              <a:solidFill>
                <a:schemeClr val="accent1"/>
              </a:solidFill>
            </a:endParaRPr>
          </a:p>
        </p:txBody>
      </p:sp>
      <p:pic>
        <p:nvPicPr>
          <p:cNvPr id="17" name="Graphic 16" descr="Close with solid fill">
            <a:extLst>
              <a:ext uri="{FF2B5EF4-FFF2-40B4-BE49-F238E27FC236}">
                <a16:creationId xmlns:a16="http://schemas.microsoft.com/office/drawing/2014/main" id="{8306A000-DE32-491C-6A75-319BDC24A63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8919" y="5931790"/>
            <a:ext cx="385882" cy="385882"/>
          </a:xfrm>
          <a:prstGeom prst="rect">
            <a:avLst/>
          </a:prstGeom>
        </p:spPr>
      </p:pic>
      <p:pic>
        <p:nvPicPr>
          <p:cNvPr id="18" name="Graphic 17" descr="Close with solid fill">
            <a:extLst>
              <a:ext uri="{FF2B5EF4-FFF2-40B4-BE49-F238E27FC236}">
                <a16:creationId xmlns:a16="http://schemas.microsoft.com/office/drawing/2014/main" id="{8579170A-7EA9-4AAD-79AC-2956486F3A1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59539" y="5931790"/>
            <a:ext cx="385882" cy="385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2533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C465D6E-CC03-43BC-A03C-CC2468E78F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000" y="4159576"/>
            <a:ext cx="2883168" cy="192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BC63759-0CAD-4D07-A3F6-D7F162BFD7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5179" y="4230080"/>
            <a:ext cx="2870432" cy="192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732442C-16E1-47F8-8C59-CBAC61E544F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2598"/>
          <a:stretch/>
        </p:blipFill>
        <p:spPr>
          <a:xfrm>
            <a:off x="7620000" y="4467352"/>
            <a:ext cx="2860800" cy="167811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394B3-1CE6-42BB-886B-22BF8759BD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ASSS Virtual Europe Discussion Group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7D8E71-E13F-41DA-AE75-93B7165DA7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12333" y="1459732"/>
            <a:ext cx="3165691" cy="208232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7F6822C-22BE-483A-952C-B0A1EB529662}"/>
              </a:ext>
            </a:extLst>
          </p:cNvPr>
          <p:cNvSpPr txBox="1"/>
          <p:nvPr/>
        </p:nvSpPr>
        <p:spPr>
          <a:xfrm>
            <a:off x="1537774" y="3913354"/>
            <a:ext cx="1879041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sl-SI" sz="1600" dirty="0"/>
              <a:t>T [5 - 50 °C]</a:t>
            </a:r>
          </a:p>
          <a:p>
            <a:pPr algn="ctr"/>
            <a:r>
              <a:rPr lang="sl-SI" sz="1600" dirty="0" err="1"/>
              <a:t>Ea</a:t>
            </a:r>
            <a:r>
              <a:rPr lang="sl-SI" sz="1600" dirty="0"/>
              <a:t> = 59.6 kcal/mo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950C77-4D6C-46E7-A7F5-FEC5F92637B7}"/>
              </a:ext>
            </a:extLst>
          </p:cNvPr>
          <p:cNvSpPr txBox="1"/>
          <p:nvPr/>
        </p:nvSpPr>
        <p:spPr>
          <a:xfrm>
            <a:off x="4905708" y="3851799"/>
            <a:ext cx="1879041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sl-SI" sz="1600" dirty="0"/>
              <a:t>T [5 - 45 °C]</a:t>
            </a:r>
          </a:p>
          <a:p>
            <a:pPr algn="ctr"/>
            <a:r>
              <a:rPr lang="sl-SI" sz="1600" dirty="0" err="1"/>
              <a:t>Ea</a:t>
            </a:r>
            <a:r>
              <a:rPr lang="sl-SI" sz="1600" dirty="0"/>
              <a:t> = 54.0 kcal/mol</a:t>
            </a:r>
            <a:endParaRPr lang="sl-SI" sz="1600" dirty="0">
              <a:solidFill>
                <a:srgbClr val="FF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395A898-5DF0-4E03-93E1-83BA6F30FBC3}"/>
              </a:ext>
            </a:extLst>
          </p:cNvPr>
          <p:cNvSpPr txBox="1"/>
          <p:nvPr/>
        </p:nvSpPr>
        <p:spPr>
          <a:xfrm>
            <a:off x="8226142" y="3794578"/>
            <a:ext cx="1879041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sl-SI" sz="1600" dirty="0"/>
              <a:t>T [5 - 40 °C]</a:t>
            </a:r>
          </a:p>
          <a:p>
            <a:pPr algn="ctr"/>
            <a:r>
              <a:rPr lang="sl-SI" sz="1600" dirty="0" err="1"/>
              <a:t>Ea</a:t>
            </a:r>
            <a:r>
              <a:rPr lang="sl-SI" sz="1600" dirty="0"/>
              <a:t> = 21.4 kcal/mol</a:t>
            </a:r>
            <a:endParaRPr lang="sl-SI" sz="1600" dirty="0">
              <a:solidFill>
                <a:srgbClr val="FF0000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8F368F-C509-1CF0-310A-09EA65F7B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1480800" cy="415498"/>
          </a:xfrm>
        </p:spPr>
        <p:txBody>
          <a:bodyPr/>
          <a:lstStyle/>
          <a:p>
            <a:r>
              <a:rPr lang="sl-SI" dirty="0" err="1"/>
              <a:t>Aggregation</a:t>
            </a:r>
            <a:r>
              <a:rPr lang="en-US" dirty="0"/>
              <a:t> modeling (option 2): </a:t>
            </a:r>
            <a:r>
              <a:rPr lang="en-US" dirty="0">
                <a:solidFill>
                  <a:schemeClr val="accent1"/>
                </a:solidFill>
              </a:rPr>
              <a:t>First Order Kinetics Model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1244EF-1868-6CA0-A165-8E93F963DAB1}"/>
              </a:ext>
            </a:extLst>
          </p:cNvPr>
          <p:cNvSpPr txBox="1"/>
          <p:nvPr/>
        </p:nvSpPr>
        <p:spPr>
          <a:xfrm>
            <a:off x="3748833" y="1234953"/>
            <a:ext cx="1409344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l-SI" sz="1600" dirty="0" err="1"/>
              <a:t>Accelerated</a:t>
            </a:r>
            <a:r>
              <a:rPr lang="sl-SI" sz="1600" dirty="0"/>
              <a:t> </a:t>
            </a:r>
            <a:r>
              <a:rPr lang="sl-SI" sz="1600" dirty="0" err="1"/>
              <a:t>stability</a:t>
            </a:r>
            <a:r>
              <a:rPr lang="sl-SI" sz="1600" dirty="0"/>
              <a:t> data</a:t>
            </a:r>
          </a:p>
        </p:txBody>
      </p:sp>
      <p:pic>
        <p:nvPicPr>
          <p:cNvPr id="3" name="Picture 2" descr="A graph with blue dots&#10;&#10;Description automatically generated">
            <a:extLst>
              <a:ext uri="{FF2B5EF4-FFF2-40B4-BE49-F238E27FC236}">
                <a16:creationId xmlns:a16="http://schemas.microsoft.com/office/drawing/2014/main" id="{C519CF94-8DBE-FC24-BEB2-481372E7010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371"/>
          <a:stretch/>
        </p:blipFill>
        <p:spPr>
          <a:xfrm>
            <a:off x="6842863" y="1314468"/>
            <a:ext cx="2743259" cy="2468565"/>
          </a:xfrm>
          <a:prstGeom prst="rect">
            <a:avLst/>
          </a:prstGeom>
        </p:spPr>
      </p:pic>
      <p:sp>
        <p:nvSpPr>
          <p:cNvPr id="2" name="Arrow: Down 1">
            <a:extLst>
              <a:ext uri="{FF2B5EF4-FFF2-40B4-BE49-F238E27FC236}">
                <a16:creationId xmlns:a16="http://schemas.microsoft.com/office/drawing/2014/main" id="{E5B7F471-F1DC-E051-FB82-328DDD9C8839}"/>
              </a:ext>
            </a:extLst>
          </p:cNvPr>
          <p:cNvSpPr/>
          <p:nvPr/>
        </p:nvSpPr>
        <p:spPr>
          <a:xfrm rot="16200000">
            <a:off x="5591123" y="2185785"/>
            <a:ext cx="1572508" cy="643793"/>
          </a:xfrm>
          <a:prstGeom prst="downArrow">
            <a:avLst>
              <a:gd name="adj1" fmla="val 65741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l-SI" sz="1600" dirty="0"/>
              <a:t>Arrhenius plot</a:t>
            </a:r>
            <a:endParaRPr lang="en-US" sz="1600" dirty="0"/>
          </a:p>
        </p:txBody>
      </p:sp>
      <p:sp>
        <p:nvSpPr>
          <p:cNvPr id="7" name="Multiplication Sign 6">
            <a:extLst>
              <a:ext uri="{FF2B5EF4-FFF2-40B4-BE49-F238E27FC236}">
                <a16:creationId xmlns:a16="http://schemas.microsoft.com/office/drawing/2014/main" id="{E55E477C-70E0-3608-D63B-BE0BBAE6E6E0}"/>
              </a:ext>
            </a:extLst>
          </p:cNvPr>
          <p:cNvSpPr/>
          <p:nvPr/>
        </p:nvSpPr>
        <p:spPr>
          <a:xfrm>
            <a:off x="7053527" y="1159624"/>
            <a:ext cx="474211" cy="503472"/>
          </a:xfrm>
          <a:prstGeom prst="mathMultiply">
            <a:avLst>
              <a:gd name="adj1" fmla="val 11277"/>
            </a:avLst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8" name="Multiplication Sign 7">
            <a:extLst>
              <a:ext uri="{FF2B5EF4-FFF2-40B4-BE49-F238E27FC236}">
                <a16:creationId xmlns:a16="http://schemas.microsoft.com/office/drawing/2014/main" id="{BACFF90F-BF7C-1F47-218C-4ADC257DD7C2}"/>
              </a:ext>
            </a:extLst>
          </p:cNvPr>
          <p:cNvSpPr/>
          <p:nvPr/>
        </p:nvSpPr>
        <p:spPr>
          <a:xfrm>
            <a:off x="7344956" y="1795647"/>
            <a:ext cx="474211" cy="503472"/>
          </a:xfrm>
          <a:prstGeom prst="mathMultiply">
            <a:avLst>
              <a:gd name="adj1" fmla="val 11277"/>
            </a:avLst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29B26EC-1E0D-76D7-2DB5-49422AA1415C}"/>
              </a:ext>
            </a:extLst>
          </p:cNvPr>
          <p:cNvCxnSpPr>
            <a:cxnSpLocks/>
          </p:cNvCxnSpPr>
          <p:nvPr/>
        </p:nvCxnSpPr>
        <p:spPr>
          <a:xfrm>
            <a:off x="7213601" y="2311400"/>
            <a:ext cx="2372521" cy="111760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E28D9C9-A219-9E55-A433-D28DF855BC36}"/>
              </a:ext>
            </a:extLst>
          </p:cNvPr>
          <p:cNvCxnSpPr>
            <a:cxnSpLocks/>
          </p:cNvCxnSpPr>
          <p:nvPr/>
        </p:nvCxnSpPr>
        <p:spPr>
          <a:xfrm>
            <a:off x="7213601" y="1314469"/>
            <a:ext cx="983633" cy="2114532"/>
          </a:xfrm>
          <a:prstGeom prst="line">
            <a:avLst/>
          </a:prstGeom>
          <a:ln w="9525">
            <a:solidFill>
              <a:srgbClr val="FF0000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66CA70-27AB-7159-BF91-52DEFEB997D9}"/>
              </a:ext>
            </a:extLst>
          </p:cNvPr>
          <p:cNvSpPr txBox="1"/>
          <p:nvPr/>
        </p:nvSpPr>
        <p:spPr>
          <a:xfrm>
            <a:off x="1908908" y="6079576"/>
            <a:ext cx="10973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sz="1200" dirty="0" err="1">
                <a:solidFill>
                  <a:schemeClr val="accent1"/>
                </a:solidFill>
              </a:rPr>
              <a:t>undersestimated</a:t>
            </a:r>
            <a:endParaRPr lang="sl-SI" sz="1200" dirty="0" err="1">
              <a:solidFill>
                <a:schemeClr val="accent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7C5B47-600A-869B-0E3E-680F6AFB1781}"/>
              </a:ext>
            </a:extLst>
          </p:cNvPr>
          <p:cNvSpPr txBox="1"/>
          <p:nvPr/>
        </p:nvSpPr>
        <p:spPr>
          <a:xfrm>
            <a:off x="4795129" y="6093430"/>
            <a:ext cx="10973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sz="1200" dirty="0" err="1">
                <a:solidFill>
                  <a:schemeClr val="accent1"/>
                </a:solidFill>
              </a:rPr>
              <a:t>undersestimated</a:t>
            </a:r>
            <a:endParaRPr lang="sl-SI" sz="1200" dirty="0" err="1">
              <a:solidFill>
                <a:schemeClr val="accent1"/>
              </a:solidFill>
            </a:endParaRPr>
          </a:p>
        </p:txBody>
      </p:sp>
      <p:pic>
        <p:nvPicPr>
          <p:cNvPr id="17" name="Graphic 16" descr="Badge Tick1 with solid fill">
            <a:extLst>
              <a:ext uri="{FF2B5EF4-FFF2-40B4-BE49-F238E27FC236}">
                <a16:creationId xmlns:a16="http://schemas.microsoft.com/office/drawing/2014/main" id="{A41330A7-5B47-6537-09DC-55EB4072C40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20650" y="5708892"/>
            <a:ext cx="555350" cy="555350"/>
          </a:xfrm>
          <a:prstGeom prst="rect">
            <a:avLst/>
          </a:prstGeom>
        </p:spPr>
      </p:pic>
      <p:pic>
        <p:nvPicPr>
          <p:cNvPr id="22" name="Graphic 21" descr="Close with solid fill">
            <a:extLst>
              <a:ext uri="{FF2B5EF4-FFF2-40B4-BE49-F238E27FC236}">
                <a16:creationId xmlns:a16="http://schemas.microsoft.com/office/drawing/2014/main" id="{42B74897-85E8-C1BD-1AA0-B06A9692DED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68919" y="5931790"/>
            <a:ext cx="385882" cy="385882"/>
          </a:xfrm>
          <a:prstGeom prst="rect">
            <a:avLst/>
          </a:prstGeom>
        </p:spPr>
      </p:pic>
      <p:pic>
        <p:nvPicPr>
          <p:cNvPr id="24" name="Graphic 23" descr="Close with solid fill">
            <a:extLst>
              <a:ext uri="{FF2B5EF4-FFF2-40B4-BE49-F238E27FC236}">
                <a16:creationId xmlns:a16="http://schemas.microsoft.com/office/drawing/2014/main" id="{F3550A95-1581-1C96-A677-5792597B103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59539" y="5931790"/>
            <a:ext cx="385882" cy="385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8084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C2FC6-8BDC-FA68-2E39-983CAB764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88939"/>
            <a:ext cx="9496162" cy="415498"/>
          </a:xfrm>
        </p:spPr>
        <p:txBody>
          <a:bodyPr/>
          <a:lstStyle/>
          <a:p>
            <a:r>
              <a:rPr lang="en-US" dirty="0"/>
              <a:t>Aggregation Can Be Reliably Modeled</a:t>
            </a:r>
            <a:endParaRPr lang="sl-SI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880968-39C0-2981-F075-84614361C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6BAAF67-9F99-72A5-3386-BA0E593DA1F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31734" b="27888"/>
          <a:stretch>
            <a:fillRect/>
          </a:stretch>
        </p:blipFill>
        <p:spPr>
          <a:xfrm>
            <a:off x="2573827" y="1697395"/>
            <a:ext cx="4655369" cy="404798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43DD080-BA04-91C2-F716-E8BE6229BE37}"/>
              </a:ext>
            </a:extLst>
          </p:cNvPr>
          <p:cNvSpPr txBox="1"/>
          <p:nvPr/>
        </p:nvSpPr>
        <p:spPr>
          <a:xfrm>
            <a:off x="1022350" y="5934530"/>
            <a:ext cx="5512728" cy="1754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Zidar et at., Scientific Reports 2025, </a:t>
            </a:r>
            <a:r>
              <a:rPr lang="sl-SI" sz="1200" dirty="0"/>
              <a:t>https://doi.org/10.1038/s41598-025-07037-y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21B007-FF02-C496-34D1-5961C20CE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838" y="2367668"/>
            <a:ext cx="1709486" cy="250273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C2AC690-5C66-60CF-6E86-68F5A5A36405}"/>
              </a:ext>
            </a:extLst>
          </p:cNvPr>
          <p:cNvSpPr txBox="1"/>
          <p:nvPr/>
        </p:nvSpPr>
        <p:spPr>
          <a:xfrm>
            <a:off x="3033997" y="1202343"/>
            <a:ext cx="3501081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800"/>
              </a:spcBef>
            </a:pPr>
            <a:r>
              <a:rPr lang="en-US" sz="1400" b="1" dirty="0"/>
              <a:t>Long-term prediction at 5°C based on short term accelerated stability stud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BA2B89-16EB-C6F0-82F7-47EF061A44F1}"/>
              </a:ext>
            </a:extLst>
          </p:cNvPr>
          <p:cNvSpPr txBox="1"/>
          <p:nvPr/>
        </p:nvSpPr>
        <p:spPr>
          <a:xfrm>
            <a:off x="8287542" y="1125808"/>
            <a:ext cx="3626916" cy="2595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>
                <a:solidFill>
                  <a:schemeClr val="accent1"/>
                </a:solidFill>
              </a:rPr>
              <a:t>For  robust Aggregation modeling it is  key to know temperature threshold value allowing you to train the model  by using a data from low temperature pathway.</a:t>
            </a:r>
          </a:p>
          <a:p>
            <a:pPr algn="l">
              <a:spcBef>
                <a:spcPts val="800"/>
              </a:spcBef>
            </a:pPr>
            <a:r>
              <a:rPr lang="en-US" dirty="0"/>
              <a:t>Temperature threshold for </a:t>
            </a:r>
            <a:r>
              <a:rPr lang="en-US" dirty="0" err="1"/>
              <a:t>mAb</a:t>
            </a:r>
            <a:r>
              <a:rPr lang="en-US" dirty="0"/>
              <a:t> like formats is typically &gt;40° C, for bi-valent nano body &gt;35° C and for ScFv and </a:t>
            </a:r>
            <a:r>
              <a:rPr lang="en-US" dirty="0" err="1"/>
              <a:t>DARpin</a:t>
            </a:r>
            <a:r>
              <a:rPr lang="en-US" dirty="0"/>
              <a:t>  &gt;30° C.</a:t>
            </a:r>
            <a:endParaRPr lang="sl-SI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2C918A-0BD5-9279-3D70-76A50FA3200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7950" t="52743"/>
          <a:stretch>
            <a:fillRect/>
          </a:stretch>
        </p:blipFill>
        <p:spPr>
          <a:xfrm>
            <a:off x="8126537" y="3807313"/>
            <a:ext cx="3409933" cy="2127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427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rrow: Bent-Up 12">
            <a:extLst>
              <a:ext uri="{FF2B5EF4-FFF2-40B4-BE49-F238E27FC236}">
                <a16:creationId xmlns:a16="http://schemas.microsoft.com/office/drawing/2014/main" id="{7676A73F-DBB7-73C8-8E5B-3281D91D6F96}"/>
              </a:ext>
            </a:extLst>
          </p:cNvPr>
          <p:cNvSpPr/>
          <p:nvPr/>
        </p:nvSpPr>
        <p:spPr>
          <a:xfrm rot="5400000">
            <a:off x="3431786" y="3840270"/>
            <a:ext cx="675321" cy="1540503"/>
          </a:xfrm>
          <a:prstGeom prst="bentUpArrow">
            <a:avLst>
              <a:gd name="adj1" fmla="val 25927"/>
              <a:gd name="adj2" fmla="val 28982"/>
              <a:gd name="adj3" fmla="val 22926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D5DEA3-E489-79AA-3161-DFE79132A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y proper temperature range selection one can reduce model complex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AF9A0C-0F1D-CA09-66DC-5406359EA9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ASSS Virtual Europe Discussion Group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ZoneTexte 12">
                <a:extLst>
                  <a:ext uri="{FF2B5EF4-FFF2-40B4-BE49-F238E27FC236}">
                    <a16:creationId xmlns:a16="http://schemas.microsoft.com/office/drawing/2014/main" id="{B48B79A5-7144-3988-947D-0CD3C7ADC7AD}"/>
                  </a:ext>
                </a:extLst>
              </p:cNvPr>
              <p:cNvSpPr txBox="1"/>
              <p:nvPr/>
            </p:nvSpPr>
            <p:spPr>
              <a:xfrm>
                <a:off x="1016000" y="2036073"/>
                <a:ext cx="9448800" cy="685893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𝜶</m:t>
                          </m:r>
                        </m:num>
                        <m:den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𝒕</m:t>
                          </m:r>
                        </m:den>
                      </m:f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467" b="1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𝒗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b>
                        <m:sSub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𝑨</m:t>
                          </m:r>
                        </m:e>
                        <m:sub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𝟏</m:t>
                          </m:r>
                        </m:sub>
                      </m:sSub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func>
                        <m:func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uncPr>
                        <m:fNam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𝒆𝒙𝒑</m:t>
                          </m:r>
                        </m:fName>
                        <m:e>
                          <m:d>
                            <m:d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MS Mincho" panose="02020609040205080304" pitchFamily="49" charset="-128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MS Mincho" panose="02020609040205080304" pitchFamily="49" charset="-128"/>
                                      <a:cs typeface="Arial" panose="020B0604020202020204" pitchFamily="34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𝑬</m:t>
                                  </m:r>
                                  <m:r>
                                    <a:rPr lang="en-US" sz="1467" b="1" i="1" baseline="-2500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𝒂</m:t>
                                  </m:r>
                                  <m:r>
                                    <a:rPr lang="en-US" sz="1467" b="1" i="1" baseline="-2500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</m:num>
                                <m:den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𝑹𝑻</m:t>
                                  </m:r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−</m:t>
                                  </m:r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𝜶</m:t>
                                  </m:r>
                                </m:e>
                                <m:sub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𝒏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𝜶</m:t>
                              </m:r>
                            </m:e>
                            <m:sub>
                              <m: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𝟏</m:t>
                              </m:r>
                            </m:sub>
                          </m:sSub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𝒎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𝑪</m:t>
                          </m:r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𝒑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d>
                        <m:d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a:rPr lang="en-US" sz="1467" b="1" i="1"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𝒗</m:t>
                          </m:r>
                        </m:e>
                      </m:d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b>
                        <m:sSub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𝑨</m:t>
                          </m:r>
                        </m:e>
                        <m:sub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𝟐</m:t>
                          </m:r>
                        </m:sub>
                      </m:sSub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func>
                        <m:func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uncPr>
                        <m:fNam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𝒆𝒙𝒑</m:t>
                          </m:r>
                        </m:fName>
                        <m:e>
                          <m:d>
                            <m:d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MS Mincho" panose="02020609040205080304" pitchFamily="49" charset="-128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MS Mincho" panose="02020609040205080304" pitchFamily="49" charset="-128"/>
                                      <a:cs typeface="Arial" panose="020B0604020202020204" pitchFamily="34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𝑬</m:t>
                                  </m:r>
                                  <m:r>
                                    <a:rPr lang="en-US" sz="1467" b="1" i="1" baseline="-2500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𝒂</m:t>
                                  </m:r>
                                  <m:r>
                                    <a:rPr lang="en-US" sz="1467" b="1" i="1" baseline="-2500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𝟐</m:t>
                                  </m:r>
                                </m:num>
                                <m:den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𝑹𝑻</m:t>
                                  </m:r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 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−</m:t>
                                  </m:r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𝜶</m:t>
                                  </m:r>
                                </m:e>
                                <m:sub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𝟐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𝒏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𝜶</m:t>
                              </m:r>
                            </m:e>
                            <m:sub>
                              <m: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𝟐</m:t>
                              </m:r>
                            </m:sub>
                          </m:sSub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𝒎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𝑪</m:t>
                          </m:r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𝒑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sz="1467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" name="ZoneTexte 12">
                <a:extLst>
                  <a:ext uri="{FF2B5EF4-FFF2-40B4-BE49-F238E27FC236}">
                    <a16:creationId xmlns:a16="http://schemas.microsoft.com/office/drawing/2014/main" id="{B48B79A5-7144-3988-947D-0CD3C7ADC7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6000" y="2036073"/>
                <a:ext cx="9448800" cy="68589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ZoneTexte 12">
                <a:extLst>
                  <a:ext uri="{FF2B5EF4-FFF2-40B4-BE49-F238E27FC236}">
                    <a16:creationId xmlns:a16="http://schemas.microsoft.com/office/drawing/2014/main" id="{02142D06-99D0-279F-2E69-10348B71D762}"/>
                  </a:ext>
                </a:extLst>
              </p:cNvPr>
              <p:cNvSpPr txBox="1"/>
              <p:nvPr/>
            </p:nvSpPr>
            <p:spPr>
              <a:xfrm>
                <a:off x="1742667" y="3622993"/>
                <a:ext cx="3102871" cy="388440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 xmlns:m="http://schemas.openxmlformats.org/officeDocument/2006/math">
                    <m:f>
                      <m:fPr>
                        <m:ctrlPr>
                          <a:rPr lang="en-US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MS Mincho" panose="02020609040205080304" pitchFamily="49" charset="-128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𝒅</m:t>
                        </m:r>
                        <m:r>
                          <a:rPr lang="en-US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𝜶</m:t>
                        </m:r>
                      </m:num>
                      <m:den>
                        <m:r>
                          <a:rPr lang="en-US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𝒅𝒕</m:t>
                        </m:r>
                      </m:den>
                    </m:f>
                    <m:r>
                      <a:rPr lang="en-US" sz="1467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=</m:t>
                    </m:r>
                    <m:r>
                      <a:rPr lang="sl-SI" sz="1467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𝑨</m:t>
                    </m:r>
                    <m:r>
                      <a:rPr lang="en-US" sz="1467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×</m:t>
                    </m:r>
                    <m:func>
                      <m:funcPr>
                        <m:ctrlPr>
                          <a:rPr lang="en-US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MS Mincho" panose="02020609040205080304" pitchFamily="49" charset="-128"/>
                            <a:cs typeface="Arial" panose="020B0604020202020204" pitchFamily="34" charset="0"/>
                          </a:rPr>
                        </m:ctrlPr>
                      </m:funcPr>
                      <m:fName>
                        <m:r>
                          <a:rPr lang="en-US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𝒆𝒙𝒑</m:t>
                        </m:r>
                      </m:fName>
                      <m:e>
                        <m:d>
                          <m:dPr>
                            <m:ctrlPr>
                              <a:rPr lang="en-US" sz="1467" b="1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MS Mincho" panose="02020609040205080304" pitchFamily="49" charset="-128"/>
                                <a:cs typeface="Arial" panose="020B0604020202020204" pitchFamily="34" charset="0"/>
                              </a:rPr>
                            </m:ctrlPr>
                          </m:dPr>
                          <m:e>
                            <m:r>
                              <a:rPr lang="en-US" sz="1467" b="1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Arial" panose="020B0604020202020204" pitchFamily="34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en-US" sz="1467" b="1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MS Mincho" panose="02020609040205080304" pitchFamily="49" charset="-128"/>
                                    <a:cs typeface="Arial" panose="020B0604020202020204" pitchFamily="34" charset="0"/>
                                  </a:rPr>
                                </m:ctrlPr>
                              </m:fPr>
                              <m:num>
                                <m:r>
                                  <a:rPr lang="en-US" sz="1467" b="1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Arial" panose="020B0604020202020204" pitchFamily="34" charset="0"/>
                                  </a:rPr>
                                  <m:t>𝑬</m:t>
                                </m:r>
                                <m:r>
                                  <a:rPr lang="en-US" sz="1467" b="1" i="1" baseline="-2500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Arial" panose="020B0604020202020204" pitchFamily="34" charset="0"/>
                                  </a:rPr>
                                  <m:t>𝒂</m:t>
                                </m:r>
                              </m:num>
                              <m:den>
                                <m:r>
                                  <a:rPr lang="en-US" sz="1467" b="1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Arial" panose="020B0604020202020204" pitchFamily="34" charset="0"/>
                                  </a:rPr>
                                  <m:t>𝑹𝑻</m:t>
                                </m:r>
                              </m:den>
                            </m:f>
                          </m:e>
                        </m:d>
                      </m:e>
                    </m:func>
                    <m:r>
                      <a:rPr lang="en-US" sz="1467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×</m:t>
                    </m:r>
                  </m:oMath>
                </a14:m>
                <a:r>
                  <a:rPr lang="en-US" sz="1467" b="1" dirty="0">
                    <a:solidFill>
                      <a:srgbClr val="000000"/>
                    </a:solidFill>
                    <a:ea typeface="Calibri" panose="020F050202020403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sl-SI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𝟏</m:t>
                        </m:r>
                        <m:r>
                          <a:rPr lang="sl-SI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−</m:t>
                        </m:r>
                        <m:r>
                          <a:rPr lang="en-US" sz="1467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𝜶</m:t>
                        </m:r>
                      </m:e>
                    </m:d>
                  </m:oMath>
                </a14:m>
                <a:endParaRPr lang="en-US" sz="1467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9" name="ZoneTexte 12">
                <a:extLst>
                  <a:ext uri="{FF2B5EF4-FFF2-40B4-BE49-F238E27FC236}">
                    <a16:creationId xmlns:a16="http://schemas.microsoft.com/office/drawing/2014/main" id="{02142D06-99D0-279F-2E69-10348B71D7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2667" y="3622993"/>
                <a:ext cx="3102871" cy="388440"/>
              </a:xfrm>
              <a:prstGeom prst="rect">
                <a:avLst/>
              </a:prstGeom>
              <a:blipFill>
                <a:blip r:embed="rId3"/>
                <a:stretch>
                  <a:fillRect l="-1768" b="-12500"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Arrow: Down 9">
            <a:extLst>
              <a:ext uri="{FF2B5EF4-FFF2-40B4-BE49-F238E27FC236}">
                <a16:creationId xmlns:a16="http://schemas.microsoft.com/office/drawing/2014/main" id="{E463A9E0-41FC-38D4-8FE6-F498A8D0B06B}"/>
              </a:ext>
            </a:extLst>
          </p:cNvPr>
          <p:cNvSpPr/>
          <p:nvPr/>
        </p:nvSpPr>
        <p:spPr>
          <a:xfrm>
            <a:off x="2806421" y="2815480"/>
            <a:ext cx="487680" cy="508000"/>
          </a:xfrm>
          <a:prstGeom prst="downArrow">
            <a:avLst>
              <a:gd name="adj1" fmla="val 32353"/>
              <a:gd name="adj2" fmla="val 5000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78BD745-E9C4-384E-C7EA-D38045B226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4362" y="2673262"/>
            <a:ext cx="4917039" cy="30951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7D2E9E6-3577-9C92-1D14-EF29684DFA99}"/>
              </a:ext>
            </a:extLst>
          </p:cNvPr>
          <p:cNvSpPr txBox="1"/>
          <p:nvPr/>
        </p:nvSpPr>
        <p:spPr>
          <a:xfrm>
            <a:off x="113749" y="4945845"/>
            <a:ext cx="55477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ess model parameters (y</a:t>
            </a:r>
            <a:r>
              <a:rPr lang="en-US" baseline="-25000" dirty="0"/>
              <a:t>0</a:t>
            </a:r>
            <a:r>
              <a:rPr lang="en-US" dirty="0"/>
              <a:t>, </a:t>
            </a:r>
            <a:r>
              <a:rPr lang="en-US" dirty="0" err="1"/>
              <a:t>y</a:t>
            </a:r>
            <a:r>
              <a:rPr lang="en-US" baseline="-25000" dirty="0" err="1"/>
              <a:t>inf</a:t>
            </a:r>
            <a:r>
              <a:rPr lang="en-US" dirty="0"/>
              <a:t>, A, </a:t>
            </a:r>
            <a:r>
              <a:rPr lang="en-US" dirty="0" err="1"/>
              <a:t>E</a:t>
            </a:r>
            <a:r>
              <a:rPr lang="en-US" baseline="-25000" dirty="0" err="1"/>
              <a:t>a</a:t>
            </a:r>
            <a:r>
              <a:rPr lang="en-US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creased model robust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duced risk of overfit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 Less data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6EC782-676A-760F-77AE-ABD89F26A661}"/>
              </a:ext>
            </a:extLst>
          </p:cNvPr>
          <p:cNvSpPr/>
          <p:nvPr/>
        </p:nvSpPr>
        <p:spPr>
          <a:xfrm>
            <a:off x="1881860" y="2007739"/>
            <a:ext cx="2405183" cy="721143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14C454-A796-C56E-BB07-A6B07E0A14B1}"/>
              </a:ext>
            </a:extLst>
          </p:cNvPr>
          <p:cNvSpPr txBox="1"/>
          <p:nvPr/>
        </p:nvSpPr>
        <p:spPr>
          <a:xfrm>
            <a:off x="5780614" y="5762813"/>
            <a:ext cx="6297637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7" dirty="0"/>
              <a:t>Kuzman D., et al., Sci Rep. 2021 Oct 15;11(1):20534. </a:t>
            </a:r>
            <a:r>
              <a:rPr lang="en-US" sz="1067" dirty="0" err="1"/>
              <a:t>doi</a:t>
            </a:r>
            <a:r>
              <a:rPr lang="en-US" sz="1067" dirty="0"/>
              <a:t>: 10.1038/s41598-021-99875-9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B7E45C-BEE3-9AB6-36DD-4364296E7886}"/>
              </a:ext>
            </a:extLst>
          </p:cNvPr>
          <p:cNvSpPr txBox="1"/>
          <p:nvPr/>
        </p:nvSpPr>
        <p:spPr>
          <a:xfrm>
            <a:off x="1729062" y="1611463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irst Order Kinetic model</a:t>
            </a:r>
            <a:endParaRPr lang="sl-SI" b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1F6CE3-2D61-5A2C-0478-DBEFE92EEABF}"/>
              </a:ext>
            </a:extLst>
          </p:cNvPr>
          <p:cNvSpPr/>
          <p:nvPr/>
        </p:nvSpPr>
        <p:spPr>
          <a:xfrm>
            <a:off x="1405822" y="3394949"/>
            <a:ext cx="3102871" cy="877913"/>
          </a:xfrm>
          <a:prstGeom prst="rect">
            <a:avLst/>
          </a:prstGeom>
          <a:solidFill>
            <a:schemeClr val="bg2">
              <a:lumMod val="20000"/>
              <a:lumOff val="8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7193737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A0827-3E15-E1C0-3850-9B53AA43F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PoC: Novartis examples with long term validation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FC098-AFCD-66C8-709F-BD3A3931C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SS Virtual Europe Discussion Group</a:t>
            </a:r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6F0DB4-AF51-7B04-A140-561E124478CC}"/>
              </a:ext>
            </a:extLst>
          </p:cNvPr>
          <p:cNvSpPr txBox="1"/>
          <p:nvPr/>
        </p:nvSpPr>
        <p:spPr>
          <a:xfrm>
            <a:off x="7636958" y="5275834"/>
            <a:ext cx="3484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i="0" u="none" strike="noStrike" baseline="0" dirty="0"/>
              <a:t>2021 Kuzman et al. Scientific Reports </a:t>
            </a:r>
            <a:r>
              <a:rPr lang="sl-SI" sz="1000" i="0" u="none" strike="noStrike" baseline="0" dirty="0"/>
              <a:t>https://doi.org/10.1038/s41598-021-99875-9</a:t>
            </a:r>
            <a:endParaRPr lang="sl-SI" sz="1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90200CD-8FDB-8B16-6359-D69EDFDB8EF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445" b="27191"/>
          <a:stretch>
            <a:fillRect/>
          </a:stretch>
        </p:blipFill>
        <p:spPr>
          <a:xfrm>
            <a:off x="1606432" y="1802597"/>
            <a:ext cx="7385168" cy="29000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0CDFD08-B8FA-CA54-EE39-C48880D84A7B}"/>
              </a:ext>
            </a:extLst>
          </p:cNvPr>
          <p:cNvSpPr txBox="1"/>
          <p:nvPr/>
        </p:nvSpPr>
        <p:spPr>
          <a:xfrm>
            <a:off x="7636958" y="1523661"/>
            <a:ext cx="592342" cy="1754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200"/>
              <a:t>Bioassay</a:t>
            </a:r>
            <a:endParaRPr lang="sl-SI" sz="12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CD14F5-0060-2BAF-54FB-F762BCB00FB8}"/>
              </a:ext>
            </a:extLst>
          </p:cNvPr>
          <p:cNvSpPr txBox="1"/>
          <p:nvPr/>
        </p:nvSpPr>
        <p:spPr>
          <a:xfrm>
            <a:off x="2836358" y="1536243"/>
            <a:ext cx="931534" cy="175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200"/>
              <a:t>Aggregates</a:t>
            </a:r>
            <a:endParaRPr lang="sl-SI" sz="12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31DB12-B761-0788-1874-89D8EE5FFA3A}"/>
              </a:ext>
            </a:extLst>
          </p:cNvPr>
          <p:cNvSpPr txBox="1"/>
          <p:nvPr/>
        </p:nvSpPr>
        <p:spPr>
          <a:xfrm>
            <a:off x="4350792" y="1536243"/>
            <a:ext cx="930832" cy="1754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200"/>
              <a:t>Acidic variants</a:t>
            </a:r>
            <a:endParaRPr lang="sl-SI" sz="12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94DC047-4ADC-BAB8-D74E-DE9203793723}"/>
              </a:ext>
            </a:extLst>
          </p:cNvPr>
          <p:cNvSpPr txBox="1"/>
          <p:nvPr/>
        </p:nvSpPr>
        <p:spPr>
          <a:xfrm>
            <a:off x="5982373" y="1536243"/>
            <a:ext cx="1085169" cy="1754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200" err="1"/>
              <a:t>nrCE</a:t>
            </a:r>
            <a:r>
              <a:rPr lang="en-US" sz="1200"/>
              <a:t>-SDS purity</a:t>
            </a:r>
            <a:endParaRPr lang="sl-SI" sz="12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A1291C-10EC-4E72-3A57-68E6BDFF7CCE}"/>
              </a:ext>
            </a:extLst>
          </p:cNvPr>
          <p:cNvSpPr txBox="1"/>
          <p:nvPr/>
        </p:nvSpPr>
        <p:spPr>
          <a:xfrm>
            <a:off x="7732965" y="4744369"/>
            <a:ext cx="2183643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400">
                <a:solidFill>
                  <a:schemeClr val="accent1"/>
                </a:solidFill>
              </a:rPr>
              <a:t>Percentage of validation data within 95% prediction interval</a:t>
            </a:r>
            <a:endParaRPr lang="sl-SI" sz="1400">
              <a:solidFill>
                <a:schemeClr val="accent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C7BDD31-300E-F807-A895-12828DAB2D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50280"/>
              </p:ext>
            </p:extLst>
          </p:nvPr>
        </p:nvGraphicFramePr>
        <p:xfrm>
          <a:off x="2836358" y="4744369"/>
          <a:ext cx="4762500" cy="1564991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2082800">
                  <a:extLst>
                    <a:ext uri="{9D8B030D-6E8A-4147-A177-3AD203B41FA5}">
                      <a16:colId xmlns:a16="http://schemas.microsoft.com/office/drawing/2014/main" val="2571669240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val="1831244446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740193043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3122741317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3903963457"/>
                    </a:ext>
                  </a:extLst>
                </a:gridCol>
              </a:tblGrid>
              <a:tr h="28483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 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l-SI" sz="1100" u="none" strike="noStrike">
                          <a:effectLst/>
                        </a:rPr>
                        <a:t>mAb1</a:t>
                      </a:r>
                      <a:endParaRPr lang="sl-SI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l-SI" sz="1100" u="none" strike="noStrike">
                          <a:effectLst/>
                        </a:rPr>
                        <a:t>Rituximab</a:t>
                      </a:r>
                      <a:endParaRPr lang="sl-SI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l-SI" sz="1100" u="none" strike="noStrike">
                          <a:effectLst/>
                        </a:rPr>
                        <a:t>Etanercept</a:t>
                      </a:r>
                      <a:endParaRPr lang="sl-SI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l-SI" sz="1100" u="none" strike="noStrike">
                          <a:effectLst/>
                        </a:rPr>
                        <a:t>Adalimumab</a:t>
                      </a:r>
                      <a:endParaRPr lang="sl-SI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8458952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solidFill>
                            <a:schemeClr val="accent2"/>
                          </a:solidFill>
                          <a:effectLst/>
                        </a:rPr>
                        <a:t>CEX amount of main variants (%)</a:t>
                      </a:r>
                      <a:endParaRPr lang="en-US" sz="1100" b="1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1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9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1437153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solidFill>
                            <a:schemeClr val="accent2"/>
                          </a:solidFill>
                          <a:effectLst/>
                        </a:rPr>
                        <a:t>CEX sum of acid variants (%)</a:t>
                      </a:r>
                      <a:endParaRPr lang="en-US" sz="1100" b="1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7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9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83601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sl-SI" sz="1100" u="none" strike="noStrike">
                          <a:solidFill>
                            <a:schemeClr val="accent2"/>
                          </a:solidFill>
                          <a:effectLst/>
                        </a:rPr>
                        <a:t>nrCE SDS purity (%)</a:t>
                      </a:r>
                      <a:endParaRPr lang="sl-SI" sz="1100" b="1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5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8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7802178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solidFill>
                            <a:schemeClr val="accent2"/>
                          </a:solidFill>
                          <a:effectLst/>
                        </a:rPr>
                        <a:t>nrCE SDS sum of fragments (%)</a:t>
                      </a:r>
                      <a:endParaRPr lang="en-US" sz="1100" b="1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no data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no data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no data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592592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sl-SI" sz="1100" u="none" strike="noStrike">
                          <a:solidFill>
                            <a:schemeClr val="accent2"/>
                          </a:solidFill>
                          <a:effectLst/>
                        </a:rPr>
                        <a:t>Relative potency</a:t>
                      </a:r>
                      <a:endParaRPr lang="sl-SI" sz="1100" b="1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n.a.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7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547577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sl-SI" sz="1100" u="none" strike="noStrike">
                          <a:solidFill>
                            <a:schemeClr val="accent2"/>
                          </a:solidFill>
                          <a:effectLst/>
                        </a:rPr>
                        <a:t>SEC purity (%)</a:t>
                      </a:r>
                      <a:endParaRPr lang="sl-SI" sz="1100" b="1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8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324521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sl-SI" sz="1100" u="none" strike="noStrike">
                          <a:solidFill>
                            <a:schemeClr val="accent2"/>
                          </a:solidFill>
                          <a:effectLst/>
                        </a:rPr>
                        <a:t>SEC sum of aggregates (%)</a:t>
                      </a:r>
                      <a:endParaRPr lang="sl-SI" sz="1100" b="1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10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4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0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l-SI" sz="1000" u="none" strike="noStrike">
                          <a:effectLst/>
                        </a:rPr>
                        <a:t>97%</a:t>
                      </a:r>
                      <a:endParaRPr lang="sl-SI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928866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0261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31974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Disclaimer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SS Virtual Europe Discussion Group</a:t>
            </a:r>
          </a:p>
        </p:txBody>
      </p:sp>
      <p:sp>
        <p:nvSpPr>
          <p:cNvPr id="7" name="Rectangle 6"/>
          <p:cNvSpPr/>
          <p:nvPr/>
        </p:nvSpPr>
        <p:spPr>
          <a:xfrm>
            <a:off x="719403" y="1604798"/>
            <a:ext cx="10344832" cy="3251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Wingdings" panose="05000000000000000000" pitchFamily="2" charset="2"/>
              <a:buChar char="§"/>
            </a:pPr>
            <a:r>
              <a:rPr lang="en-US" sz="2933"/>
              <a:t>These slides are intended for educational purposes only and for the personal use of the audience. 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US" sz="2933"/>
              <a:t>These slides are not intended for wider distribution outside the intended purpose without presenter approval.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US" sz="2933"/>
              <a:t>The content of this slide deck is accurate to the best of the presenter’s knowledge at the time of production.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endParaRPr lang="en-US" sz="2933"/>
          </a:p>
        </p:txBody>
      </p:sp>
    </p:spTree>
    <p:extLst>
      <p:ext uri="{BB962C8B-B14F-4D97-AF65-F5344CB8AC3E}">
        <p14:creationId xmlns:p14="http://schemas.microsoft.com/office/powerpoint/2010/main" val="3076012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37B8D-B7D4-B609-C218-6595276CF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88939"/>
            <a:ext cx="10663622" cy="1107996"/>
          </a:xfrm>
        </p:spPr>
        <p:txBody>
          <a:bodyPr/>
          <a:lstStyle/>
          <a:p>
            <a:r>
              <a:rPr lang="en-US"/>
              <a:t>PoC: examples from &gt;18 biologics product</a:t>
            </a:r>
            <a:endParaRPr lang="sl-S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4109A6-F82F-9B11-3720-856260444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E2911F3-D4A3-DDA8-144E-FFB0D5F673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373105"/>
              </p:ext>
            </p:extLst>
          </p:nvPr>
        </p:nvGraphicFramePr>
        <p:xfrm>
          <a:off x="7525627" y="2381927"/>
          <a:ext cx="4663675" cy="3268382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932735">
                  <a:extLst>
                    <a:ext uri="{9D8B030D-6E8A-4147-A177-3AD203B41FA5}">
                      <a16:colId xmlns:a16="http://schemas.microsoft.com/office/drawing/2014/main" val="3620352433"/>
                    </a:ext>
                  </a:extLst>
                </a:gridCol>
                <a:gridCol w="932735">
                  <a:extLst>
                    <a:ext uri="{9D8B030D-6E8A-4147-A177-3AD203B41FA5}">
                      <a16:colId xmlns:a16="http://schemas.microsoft.com/office/drawing/2014/main" val="3694013912"/>
                    </a:ext>
                  </a:extLst>
                </a:gridCol>
                <a:gridCol w="932735">
                  <a:extLst>
                    <a:ext uri="{9D8B030D-6E8A-4147-A177-3AD203B41FA5}">
                      <a16:colId xmlns:a16="http://schemas.microsoft.com/office/drawing/2014/main" val="2762742561"/>
                    </a:ext>
                  </a:extLst>
                </a:gridCol>
                <a:gridCol w="932735">
                  <a:extLst>
                    <a:ext uri="{9D8B030D-6E8A-4147-A177-3AD203B41FA5}">
                      <a16:colId xmlns:a16="http://schemas.microsoft.com/office/drawing/2014/main" val="3179592804"/>
                    </a:ext>
                  </a:extLst>
                </a:gridCol>
                <a:gridCol w="932735">
                  <a:extLst>
                    <a:ext uri="{9D8B030D-6E8A-4147-A177-3AD203B41FA5}">
                      <a16:colId xmlns:a16="http://schemas.microsoft.com/office/drawing/2014/main" val="4138827609"/>
                    </a:ext>
                  </a:extLst>
                </a:gridCol>
              </a:tblGrid>
              <a:tr h="165543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Drug Product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tate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odality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ubtype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Concentration (mg/mL)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4026831456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A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edium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1857969449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B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edium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2442934351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C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 coform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 + 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ow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2778361011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High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3416889334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E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High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492896063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F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ADC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ow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1658922496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G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yophilize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ADC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ow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3133352622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H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ow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2689694245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yophilize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ow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662805875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J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High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2231982567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K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High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1919618360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ow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1749428222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 coform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4 + 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ow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189901456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N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edium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750563037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O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edium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/>
                </a:tc>
                <a:extLst>
                  <a:ext uri="{0D108BD9-81ED-4DB2-BD59-A6C34878D82A}">
                    <a16:rowId xmlns:a16="http://schemas.microsoft.com/office/drawing/2014/main" val="3376469074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P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edium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/>
                </a:tc>
                <a:extLst>
                  <a:ext uri="{0D108BD9-81ED-4DB2-BD59-A6C34878D82A}">
                    <a16:rowId xmlns:a16="http://schemas.microsoft.com/office/drawing/2014/main" val="3139064974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Q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qui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Ab coform</a:t>
                      </a:r>
                      <a:endParaRPr lang="en-US" sz="800" err="1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IgG1 + IgG4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ow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3601850271"/>
                  </a:ext>
                </a:extLst>
              </a:tr>
              <a:tr h="1655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R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yophilized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Fusion Protein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N/A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edium</a:t>
                      </a:r>
                      <a:endParaRPr lang="en-US" sz="800">
                        <a:effectLst/>
                        <a:latin typeface="Times New Roman"/>
                        <a:ea typeface="Calibri"/>
                        <a:cs typeface="Arial"/>
                      </a:endParaRPr>
                    </a:p>
                  </a:txBody>
                  <a:tcPr marL="68580" marR="68580" marT="18415" marB="18415" anchor="ctr"/>
                </a:tc>
                <a:extLst>
                  <a:ext uri="{0D108BD9-81ED-4DB2-BD59-A6C34878D82A}">
                    <a16:rowId xmlns:a16="http://schemas.microsoft.com/office/drawing/2014/main" val="564310544"/>
                  </a:ext>
                </a:extLst>
              </a:tr>
            </a:tbl>
          </a:graphicData>
        </a:graphic>
      </p:graphicFrame>
      <p:pic>
        <p:nvPicPr>
          <p:cNvPr id="7" name="Picture 6" descr="A screenshot of a video game&#10;&#10;Description automatically generated">
            <a:extLst>
              <a:ext uri="{FF2B5EF4-FFF2-40B4-BE49-F238E27FC236}">
                <a16:creationId xmlns:a16="http://schemas.microsoft.com/office/drawing/2014/main" id="{5E186298-0ED9-21F6-CA20-9315E39CE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521" y="1342743"/>
            <a:ext cx="7403106" cy="4339270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8EA3895-7E36-36B4-6998-020DB46624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25627" y="1401747"/>
            <a:ext cx="4794630" cy="488951"/>
          </a:xfrm>
        </p:spPr>
        <p:txBody>
          <a:bodyPr/>
          <a:lstStyle/>
          <a:p>
            <a:r>
              <a:rPr lang="en-US">
                <a:latin typeface="+mj-lt"/>
              </a:rPr>
              <a:t>Broad application of Arrhenius first order kinetic modeling across different biotherapeutic modaliti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744C37-8BC1-CAC5-436A-2A36312DC026}"/>
              </a:ext>
            </a:extLst>
          </p:cNvPr>
          <p:cNvSpPr txBox="1"/>
          <p:nvPr/>
        </p:nvSpPr>
        <p:spPr>
          <a:xfrm>
            <a:off x="407368" y="5650499"/>
            <a:ext cx="611034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>
                <a:solidFill>
                  <a:schemeClr val="accent6">
                    <a:lumMod val="10000"/>
                  </a:schemeClr>
                </a:solidFill>
              </a:rPr>
              <a:t>2024 Dillon et al., Predicting the Long-Term Stability of Biologics with Short-Term Data, </a:t>
            </a:r>
            <a:r>
              <a:rPr lang="en-US" sz="1000" u="sng">
                <a:solidFill>
                  <a:srgbClr val="0460A9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-US" sz="1000" u="sng">
                <a:solidFill>
                  <a:schemeClr val="accent6">
                    <a:lumMod val="1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doi.org/10.1021/acs.molpharmaceut.4c00609</a:t>
            </a:r>
            <a:endParaRPr lang="en-US" sz="1000">
              <a:solidFill>
                <a:schemeClr val="accent6">
                  <a:lumMod val="10000"/>
                </a:schemeClr>
              </a:solidFill>
            </a:endParaRPr>
          </a:p>
          <a:p>
            <a:endParaRPr lang="sl-SI" sz="100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E6E36A-8F7C-683A-CF10-CB2E30E8DA92}"/>
              </a:ext>
            </a:extLst>
          </p:cNvPr>
          <p:cNvSpPr txBox="1"/>
          <p:nvPr/>
        </p:nvSpPr>
        <p:spPr>
          <a:xfrm>
            <a:off x="6025590" y="5752217"/>
            <a:ext cx="61620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86995" algn="just">
              <a:lnSpc>
                <a:spcPct val="90000"/>
              </a:lnSpc>
              <a:spcBef>
                <a:spcPts val="450"/>
              </a:spcBef>
              <a:spcAft>
                <a:spcPts val="800"/>
              </a:spcAft>
              <a:buNone/>
            </a:pPr>
            <a:r>
              <a:rPr lang="en-US" sz="1000" kern="1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More examples: (Huelsmeyer, Kuzman et al. 2023)</a:t>
            </a:r>
            <a:r>
              <a:rPr lang="en-US" sz="1000" kern="100" baseline="300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,</a:t>
            </a:r>
            <a:r>
              <a:rPr lang="en-US" sz="1000" kern="1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(Lennard, Zimmermann et al. 2024)</a:t>
            </a:r>
            <a:r>
              <a:rPr lang="en-US" sz="1000" kern="100" baseline="300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,</a:t>
            </a:r>
            <a:r>
              <a:rPr lang="en-US" sz="1000" kern="1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(Dillon, Xu et al. 2024)</a:t>
            </a:r>
            <a:r>
              <a:rPr lang="en-US" sz="1000" kern="100" baseline="300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,</a:t>
            </a:r>
            <a:r>
              <a:rPr lang="en-US" sz="1000" kern="1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(Kuzman, Bunc et al. 2021)</a:t>
            </a:r>
            <a:r>
              <a:rPr lang="en-US" sz="1000" kern="100" baseline="300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,</a:t>
            </a:r>
            <a:r>
              <a:rPr lang="en-US" sz="1000" kern="1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(Bunc, Hadzi et al. 2022)</a:t>
            </a:r>
            <a:r>
              <a:rPr lang="en-US" sz="1000" kern="100" baseline="300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,</a:t>
            </a:r>
            <a:r>
              <a:rPr lang="en-US" sz="1000" kern="100">
                <a:solidFill>
                  <a:schemeClr val="accent6">
                    <a:lumMod val="10000"/>
                  </a:schemeClr>
                </a:solidFill>
                <a:effectLst/>
                <a:latin typeface="+mj-lt"/>
              </a:rPr>
              <a:t>(Doshi, Martin and Tomlinson 2020)</a:t>
            </a:r>
            <a:endParaRPr lang="en-US" sz="1000" kern="100">
              <a:solidFill>
                <a:schemeClr val="accent6">
                  <a:lumMod val="10000"/>
                </a:schemeClr>
              </a:solidFill>
              <a:effectLst/>
              <a:latin typeface="+mj-lt"/>
              <a:ea typeface="DengXia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674836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65E0B-C3FA-4FC5-3303-B5F3A0432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  <a:endParaRPr lang="sl-S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E29474-3F68-FC25-12D8-24D88CD64C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384" y="1322999"/>
            <a:ext cx="11088000" cy="474397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b="1" dirty="0">
                <a:latin typeface="+mn-lt"/>
              </a:rPr>
              <a:t>Advance Kinetic Modeling of Stability for Biologic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Arrhenius equation enables extrapolation in temperature which leads to faster, precise long-term predictions from accelerated dat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Different kinetic models can be applied, however “simpler is better”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For biological drug, most of the modellable quality attributes can be described by first order Arrhenius kinetics</a:t>
            </a:r>
            <a:endParaRPr lang="en-US" b="1" dirty="0">
              <a:latin typeface="+mn-lt"/>
            </a:endParaRPr>
          </a:p>
          <a:p>
            <a:pPr>
              <a:spcBef>
                <a:spcPts val="600"/>
              </a:spcBef>
            </a:pPr>
            <a:r>
              <a:rPr lang="en-US" b="1" dirty="0">
                <a:latin typeface="+mn-lt"/>
              </a:rPr>
              <a:t>Model Assumptions Validation</a:t>
            </a:r>
            <a:endParaRPr lang="en-US" dirty="0">
              <a:latin typeface="+mn-lt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Goodness of fi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Extrapolation  in temperature by  Arrhenius plot and/or fir of independent data  set  from  recommended storage condition to the predicted profile</a:t>
            </a:r>
          </a:p>
          <a:p>
            <a:pPr>
              <a:spcBef>
                <a:spcPts val="600"/>
              </a:spcBef>
            </a:pPr>
            <a:r>
              <a:rPr lang="en-US" b="1" dirty="0"/>
              <a:t>Ongoing Verific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Fit of recommended storage condition data obtained after model finalized (e.g. post-approval)</a:t>
            </a:r>
          </a:p>
          <a:p>
            <a:pPr>
              <a:spcBef>
                <a:spcPts val="600"/>
              </a:spcBef>
            </a:pPr>
            <a:r>
              <a:rPr lang="en-US" b="1" dirty="0">
                <a:latin typeface="+mn-lt"/>
              </a:rPr>
              <a:t>Application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Stability modeling supports candidate/formulation selection, temperature excursions, hold times, control strategy, shelf-life claims,…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2959F2-6024-4B44-F6A6-0540571C0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</p:spTree>
    <p:extLst>
      <p:ext uri="{BB962C8B-B14F-4D97-AF65-F5344CB8AC3E}">
        <p14:creationId xmlns:p14="http://schemas.microsoft.com/office/powerpoint/2010/main" val="28496860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96CC56-03C3-E390-4E7C-5D34CCFDFB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384" y="726029"/>
            <a:ext cx="10080000" cy="1235659"/>
          </a:xfrm>
        </p:spPr>
        <p:txBody>
          <a:bodyPr/>
          <a:lstStyle/>
          <a:p>
            <a:r>
              <a:rPr lang="en-US" dirty="0"/>
              <a:t>Thank you</a:t>
            </a:r>
            <a:endParaRPr lang="sl-SI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A216B5-AB9D-12A6-0D53-0A38F1B1D5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noProof="0"/>
              <a:t>CASSS Virtual Europe Discussion Group</a:t>
            </a:r>
          </a:p>
        </p:txBody>
      </p:sp>
    </p:spTree>
    <p:extLst>
      <p:ext uri="{BB962C8B-B14F-4D97-AF65-F5344CB8AC3E}">
        <p14:creationId xmlns:p14="http://schemas.microsoft.com/office/powerpoint/2010/main" val="3571317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D07D1-71AE-98D0-E397-1F6494C10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sl-SI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8F84C6F-6CF0-80DD-79C5-91AAE6BCB1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473700"/>
              </p:ext>
            </p:extLst>
          </p:nvPr>
        </p:nvGraphicFramePr>
        <p:xfrm>
          <a:off x="550864" y="1714499"/>
          <a:ext cx="5058200" cy="25279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3691">
                  <a:extLst>
                    <a:ext uri="{9D8B030D-6E8A-4147-A177-3AD203B41FA5}">
                      <a16:colId xmlns:a16="http://schemas.microsoft.com/office/drawing/2014/main" val="3735664791"/>
                    </a:ext>
                  </a:extLst>
                </a:gridCol>
                <a:gridCol w="4534509">
                  <a:extLst>
                    <a:ext uri="{9D8B030D-6E8A-4147-A177-3AD203B41FA5}">
                      <a16:colId xmlns:a16="http://schemas.microsoft.com/office/drawing/2014/main" val="638199919"/>
                    </a:ext>
                  </a:extLst>
                </a:gridCol>
              </a:tblGrid>
              <a:tr h="842645">
                <a:tc>
                  <a:txBody>
                    <a:bodyPr/>
                    <a:lstStyle/>
                    <a:p>
                      <a:pPr algn="ctr"/>
                      <a:r>
                        <a:rPr lang="en-US" sz="3000" b="1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tion to stability modeling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2771532"/>
                  </a:ext>
                </a:extLst>
              </a:tr>
              <a:tr h="842645">
                <a:tc>
                  <a:txBody>
                    <a:bodyPr/>
                    <a:lstStyle/>
                    <a:p>
                      <a:pPr algn="ctr"/>
                      <a:r>
                        <a:rPr lang="en-US" sz="3000" b="1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Standard approach: extrapolation in tim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7212033"/>
                  </a:ext>
                </a:extLst>
              </a:tr>
              <a:tr h="842645">
                <a:tc>
                  <a:txBody>
                    <a:bodyPr/>
                    <a:lstStyle/>
                    <a:p>
                      <a:pPr algn="ctr"/>
                      <a:r>
                        <a:rPr lang="en-US" sz="3000" b="1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i="0" u="none" strike="noStrike" noProof="0" dirty="0">
                          <a:solidFill>
                            <a:srgbClr val="161616"/>
                          </a:solidFill>
                          <a:latin typeface="Volta Modern Display 55 Rom"/>
                        </a:rPr>
                        <a:t>Alternative approach: extrapolation in temperature  by Arrhenius (AKM)</a:t>
                      </a:r>
                      <a:endParaRPr lang="en-US" dirty="0"/>
                    </a:p>
                  </a:txBody>
                  <a:tcPr anchor="ctr"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03009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F94240C-0AE3-1A29-49BB-CD8E6684B1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99803"/>
              </p:ext>
            </p:extLst>
          </p:nvPr>
        </p:nvGraphicFramePr>
        <p:xfrm>
          <a:off x="548684" y="4360333"/>
          <a:ext cx="5058200" cy="1685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3691">
                  <a:extLst>
                    <a:ext uri="{9D8B030D-6E8A-4147-A177-3AD203B41FA5}">
                      <a16:colId xmlns:a16="http://schemas.microsoft.com/office/drawing/2014/main" val="3735664791"/>
                    </a:ext>
                  </a:extLst>
                </a:gridCol>
                <a:gridCol w="4534509">
                  <a:extLst>
                    <a:ext uri="{9D8B030D-6E8A-4147-A177-3AD203B41FA5}">
                      <a16:colId xmlns:a16="http://schemas.microsoft.com/office/drawing/2014/main" val="638199919"/>
                    </a:ext>
                  </a:extLst>
                </a:gridCol>
              </a:tblGrid>
              <a:tr h="842645">
                <a:tc>
                  <a:txBody>
                    <a:bodyPr/>
                    <a:lstStyle/>
                    <a:p>
                      <a:pPr algn="ctr"/>
                      <a:r>
                        <a:rPr lang="en-US" sz="3000" b="1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b="1" dirty="0"/>
                        <a:t>Model assumptions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2771532"/>
                  </a:ext>
                </a:extLst>
              </a:tr>
              <a:tr h="842645">
                <a:tc>
                  <a:txBody>
                    <a:bodyPr/>
                    <a:lstStyle/>
                    <a:p>
                      <a:pPr algn="ctr"/>
                      <a:r>
                        <a:rPr lang="en-US" sz="3000" b="1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i="0" u="none" strike="noStrike" noProof="0" dirty="0">
                          <a:solidFill>
                            <a:srgbClr val="161616"/>
                          </a:solidFill>
                          <a:latin typeface="Volta Modern Display 55 Rom"/>
                        </a:rPr>
                        <a:t>PoC for biological drugs</a:t>
                      </a:r>
                      <a:endParaRPr lang="en-US" dirty="0"/>
                    </a:p>
                  </a:txBody>
                  <a:tcPr anchor="ctr"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72120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93339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1BCCD9-0CF3-C831-E0C5-F7D50FC0B9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BDE71-764B-5098-4556-43C9F5F0E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bility Studies of Biologics</a:t>
            </a:r>
            <a:endParaRPr lang="sl-SI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81808B-4D6D-1129-50EB-98C950622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ASSS Virtual Europe Discussion Group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5BC2B3-81FD-6A76-394D-D32FCF559321}"/>
              </a:ext>
            </a:extLst>
          </p:cNvPr>
          <p:cNvSpPr txBox="1"/>
          <p:nvPr/>
        </p:nvSpPr>
        <p:spPr>
          <a:xfrm>
            <a:off x="7143954" y="2472933"/>
            <a:ext cx="4621778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Drug Candidate selec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ormulation screening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helf life-assessment of clinical material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nal formulation screening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imary packaging screening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ormulation robustnes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ut-of-fridge studie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umulative hold times studie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hel-life claim of commercial drug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ost approval process change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…</a:t>
            </a:r>
            <a:endParaRPr lang="sl-SI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DD0221-0729-730D-DD83-446F5BAB09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692" y="2774159"/>
            <a:ext cx="5390476" cy="2838095"/>
          </a:xfrm>
          <a:prstGeom prst="rect">
            <a:avLst/>
          </a:prstGeom>
        </p:spPr>
      </p:pic>
      <p:pic>
        <p:nvPicPr>
          <p:cNvPr id="7" name="Logo">
            <a:extLst>
              <a:ext uri="{FF2B5EF4-FFF2-40B4-BE49-F238E27FC236}">
                <a16:creationId xmlns:a16="http://schemas.microsoft.com/office/drawing/2014/main" id="{C81FE4B8-671E-2BF3-6C06-77351E1485B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gray">
          <a:xfrm>
            <a:off x="551394" y="6301888"/>
            <a:ext cx="1691980" cy="2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306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B0FC4-4425-9F4F-EFE6-AD913B35D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CA146-EA17-40BC-6F15-6EB2D0E01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f-Life Determination of Commercial Biologics</a:t>
            </a:r>
            <a:endParaRPr lang="sl-SI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26E228-B523-F00D-F9DF-C77459DB0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ASSS Virtual Europe Discussion Grou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70DF3A-7B50-C958-1A87-EFC67D7B9490}"/>
              </a:ext>
            </a:extLst>
          </p:cNvPr>
          <p:cNvSpPr txBox="1"/>
          <p:nvPr/>
        </p:nvSpPr>
        <p:spPr>
          <a:xfrm>
            <a:off x="606300" y="5019922"/>
            <a:ext cx="109002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cap="small" dirty="0">
                <a:solidFill>
                  <a:srgbClr val="000000"/>
                </a:solidFill>
                <a:latin typeface="+mj-lt"/>
              </a:rPr>
              <a:t>ICH Q5C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“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+mj-lt"/>
              </a:rPr>
              <a:t>Primary data to support a requested storage period for either drug substance or drug product 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+mj-lt"/>
              </a:rPr>
              <a:t>should be based on</a:t>
            </a:r>
            <a:r>
              <a:rPr lang="en-US" sz="1800" i="1" u="none" strike="noStrike" baseline="0" dirty="0">
                <a:solidFill>
                  <a:srgbClr val="000000"/>
                </a:solidFill>
                <a:latin typeface="+mj-lt"/>
              </a:rPr>
              <a:t> long-term, 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+mj-lt"/>
              </a:rPr>
              <a:t>real-time, </a:t>
            </a:r>
            <a:r>
              <a:rPr lang="en-US" sz="1800" i="1" u="none" strike="noStrike" baseline="0" dirty="0">
                <a:solidFill>
                  <a:srgbClr val="000000"/>
                </a:solidFill>
                <a:latin typeface="+mj-lt"/>
              </a:rPr>
              <a:t>real-condition 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+mj-lt"/>
              </a:rPr>
              <a:t>stability studies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+mj-lt"/>
              </a:rPr>
              <a:t>.”</a:t>
            </a:r>
            <a:endParaRPr lang="sl-SI" i="1" dirty="0">
              <a:latin typeface="+mj-lt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782E181-4886-0FBE-0671-414AB52776C4}"/>
              </a:ext>
            </a:extLst>
          </p:cNvPr>
          <p:cNvCxnSpPr>
            <a:cxnSpLocks/>
          </p:cNvCxnSpPr>
          <p:nvPr/>
        </p:nvCxnSpPr>
        <p:spPr>
          <a:xfrm flipV="1">
            <a:off x="3322354" y="4098773"/>
            <a:ext cx="5139657" cy="542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268B200-3BDE-08BB-1E51-714D7D8203AA}"/>
              </a:ext>
            </a:extLst>
          </p:cNvPr>
          <p:cNvCxnSpPr>
            <a:cxnSpLocks/>
          </p:cNvCxnSpPr>
          <p:nvPr/>
        </p:nvCxnSpPr>
        <p:spPr>
          <a:xfrm flipV="1">
            <a:off x="3322354" y="1907874"/>
            <a:ext cx="30757" cy="218899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572DD48D-6A0D-CC11-0347-20ACB7B06240}"/>
              </a:ext>
            </a:extLst>
          </p:cNvPr>
          <p:cNvSpPr txBox="1"/>
          <p:nvPr/>
        </p:nvSpPr>
        <p:spPr>
          <a:xfrm>
            <a:off x="5156532" y="4488057"/>
            <a:ext cx="14713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me (years)</a:t>
            </a:r>
            <a:endParaRPr lang="sl-SI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C8FC2E9-6B70-1528-BE65-7A4CA76CC336}"/>
              </a:ext>
            </a:extLst>
          </p:cNvPr>
          <p:cNvSpPr txBox="1"/>
          <p:nvPr/>
        </p:nvSpPr>
        <p:spPr>
          <a:xfrm rot="16200000">
            <a:off x="2523045" y="3038848"/>
            <a:ext cx="928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QA (%)</a:t>
            </a:r>
            <a:endParaRPr lang="sl-SI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EF59EFF-D8AD-69E1-3A76-5CC4E53FA205}"/>
              </a:ext>
            </a:extLst>
          </p:cNvPr>
          <p:cNvCxnSpPr>
            <a:cxnSpLocks/>
          </p:cNvCxnSpPr>
          <p:nvPr/>
        </p:nvCxnSpPr>
        <p:spPr>
          <a:xfrm flipV="1">
            <a:off x="3369415" y="3306442"/>
            <a:ext cx="4822266" cy="512955"/>
          </a:xfrm>
          <a:prstGeom prst="line">
            <a:avLst/>
          </a:prstGeom>
          <a:ln w="12700">
            <a:solidFill>
              <a:srgbClr val="0460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C2DEA40-ADF7-E107-2E28-4E9F3477CC09}"/>
              </a:ext>
            </a:extLst>
          </p:cNvPr>
          <p:cNvCxnSpPr>
            <a:cxnSpLocks/>
          </p:cNvCxnSpPr>
          <p:nvPr/>
        </p:nvCxnSpPr>
        <p:spPr>
          <a:xfrm flipV="1">
            <a:off x="3322354" y="3112684"/>
            <a:ext cx="5255407" cy="38843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7324D26-8BA3-05F7-4E95-E3EEC2A46452}"/>
              </a:ext>
            </a:extLst>
          </p:cNvPr>
          <p:cNvSpPr txBox="1"/>
          <p:nvPr/>
        </p:nvSpPr>
        <p:spPr>
          <a:xfrm>
            <a:off x="4188663" y="2762413"/>
            <a:ext cx="3297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 end of shelf-life specifications</a:t>
            </a:r>
            <a:endParaRPr lang="sl-SI" sz="1600" dirty="0">
              <a:solidFill>
                <a:schemeClr val="accent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FE7DE9E-E0FF-D99F-BF59-86D74100FDFD}"/>
              </a:ext>
            </a:extLst>
          </p:cNvPr>
          <p:cNvSpPr txBox="1"/>
          <p:nvPr/>
        </p:nvSpPr>
        <p:spPr>
          <a:xfrm>
            <a:off x="3160542" y="410094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</a:t>
            </a:r>
            <a:endParaRPr lang="sl-SI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195D65D-68D3-31A3-AF8B-F2795C6142F1}"/>
              </a:ext>
            </a:extLst>
          </p:cNvPr>
          <p:cNvSpPr txBox="1"/>
          <p:nvPr/>
        </p:nvSpPr>
        <p:spPr>
          <a:xfrm>
            <a:off x="4489555" y="410094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  <a:endParaRPr lang="sl-SI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AA70E5A-1461-95B3-0C72-363F66FD37EA}"/>
              </a:ext>
            </a:extLst>
          </p:cNvPr>
          <p:cNvSpPr txBox="1"/>
          <p:nvPr/>
        </p:nvSpPr>
        <p:spPr>
          <a:xfrm>
            <a:off x="5877268" y="408492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  <a:endParaRPr lang="sl-SI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5E318F4-097E-CCB7-8F6C-8DBB7500396D}"/>
              </a:ext>
            </a:extLst>
          </p:cNvPr>
          <p:cNvSpPr txBox="1"/>
          <p:nvPr/>
        </p:nvSpPr>
        <p:spPr>
          <a:xfrm>
            <a:off x="7137215" y="408492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  <a:endParaRPr lang="sl-SI" dirty="0"/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F4770E0-6EC0-33B9-245F-3FEB0D212B02}"/>
              </a:ext>
            </a:extLst>
          </p:cNvPr>
          <p:cNvCxnSpPr>
            <a:cxnSpLocks/>
          </p:cNvCxnSpPr>
          <p:nvPr/>
        </p:nvCxnSpPr>
        <p:spPr>
          <a:xfrm>
            <a:off x="7293668" y="3454120"/>
            <a:ext cx="4405" cy="628952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5D8F6C3-CA8B-8DAE-17CF-62166AC92B67}"/>
              </a:ext>
            </a:extLst>
          </p:cNvPr>
          <p:cNvSpPr txBox="1"/>
          <p:nvPr/>
        </p:nvSpPr>
        <p:spPr>
          <a:xfrm>
            <a:off x="7286984" y="3524012"/>
            <a:ext cx="3297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Shelf-life</a:t>
            </a:r>
            <a:endParaRPr lang="sl-SI" sz="1600" dirty="0">
              <a:solidFill>
                <a:schemeClr val="accent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0EFAF20-F919-1C1C-A484-F644B84C5F93}"/>
              </a:ext>
            </a:extLst>
          </p:cNvPr>
          <p:cNvSpPr txBox="1"/>
          <p:nvPr/>
        </p:nvSpPr>
        <p:spPr>
          <a:xfrm>
            <a:off x="4622858" y="5600890"/>
            <a:ext cx="6094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dirty="0">
                <a:hlinkClick r:id="rId2"/>
              </a:rPr>
              <a:t>Q5C Guideline.pdf</a:t>
            </a:r>
            <a:endParaRPr lang="sl-SI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C688622-6536-2B08-9E78-A578107DA9AA}"/>
              </a:ext>
            </a:extLst>
          </p:cNvPr>
          <p:cNvSpPr>
            <a:spLocks noChangeAspect="1"/>
          </p:cNvSpPr>
          <p:nvPr/>
        </p:nvSpPr>
        <p:spPr>
          <a:xfrm>
            <a:off x="3554887" y="3687776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74B396E-B5EF-6281-1264-DC12DF751CEB}"/>
              </a:ext>
            </a:extLst>
          </p:cNvPr>
          <p:cNvSpPr>
            <a:spLocks noChangeAspect="1"/>
          </p:cNvSpPr>
          <p:nvPr/>
        </p:nvSpPr>
        <p:spPr>
          <a:xfrm>
            <a:off x="3906415" y="3759776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071382E-3452-EEDE-D22E-E29CF0E0B5A3}"/>
              </a:ext>
            </a:extLst>
          </p:cNvPr>
          <p:cNvSpPr>
            <a:spLocks noChangeAspect="1"/>
          </p:cNvSpPr>
          <p:nvPr/>
        </p:nvSpPr>
        <p:spPr>
          <a:xfrm>
            <a:off x="3476780" y="3819397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A6CD3D5-F885-378F-A302-C2AF9D3947D5}"/>
              </a:ext>
            </a:extLst>
          </p:cNvPr>
          <p:cNvSpPr>
            <a:spLocks noChangeAspect="1"/>
          </p:cNvSpPr>
          <p:nvPr/>
        </p:nvSpPr>
        <p:spPr>
          <a:xfrm>
            <a:off x="4191004" y="3587984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29F30D-555B-2118-12B7-5731974A5B97}"/>
              </a:ext>
            </a:extLst>
          </p:cNvPr>
          <p:cNvSpPr>
            <a:spLocks noChangeAspect="1"/>
          </p:cNvSpPr>
          <p:nvPr/>
        </p:nvSpPr>
        <p:spPr>
          <a:xfrm>
            <a:off x="4562711" y="3690849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B140226-E663-CBD4-767C-8E0D686F1314}"/>
              </a:ext>
            </a:extLst>
          </p:cNvPr>
          <p:cNvSpPr>
            <a:spLocks noChangeAspect="1"/>
          </p:cNvSpPr>
          <p:nvPr/>
        </p:nvSpPr>
        <p:spPr>
          <a:xfrm>
            <a:off x="6550191" y="3506609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B76430-918F-F662-962C-AB862C8CC125}"/>
              </a:ext>
            </a:extLst>
          </p:cNvPr>
          <p:cNvSpPr>
            <a:spLocks noChangeAspect="1"/>
          </p:cNvSpPr>
          <p:nvPr/>
        </p:nvSpPr>
        <p:spPr>
          <a:xfrm>
            <a:off x="5186511" y="3624596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1C49D90-82E4-8EAF-7A8F-CF274F20340C}"/>
              </a:ext>
            </a:extLst>
          </p:cNvPr>
          <p:cNvSpPr>
            <a:spLocks noChangeAspect="1"/>
          </p:cNvSpPr>
          <p:nvPr/>
        </p:nvSpPr>
        <p:spPr>
          <a:xfrm>
            <a:off x="5892182" y="3353451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601F935-E730-290E-42DC-83C99FC4DD87}"/>
              </a:ext>
            </a:extLst>
          </p:cNvPr>
          <p:cNvSpPr>
            <a:spLocks noChangeAspect="1"/>
          </p:cNvSpPr>
          <p:nvPr/>
        </p:nvSpPr>
        <p:spPr>
          <a:xfrm>
            <a:off x="3296656" y="3761247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22B0D63-F318-BBF2-0C75-99CFBA66864E}"/>
              </a:ext>
            </a:extLst>
          </p:cNvPr>
          <p:cNvSpPr>
            <a:spLocks noChangeAspect="1"/>
          </p:cNvSpPr>
          <p:nvPr/>
        </p:nvSpPr>
        <p:spPr>
          <a:xfrm>
            <a:off x="7137215" y="3201053"/>
            <a:ext cx="144000" cy="144000"/>
          </a:xfrm>
          <a:prstGeom prst="ellipse">
            <a:avLst/>
          </a:prstGeom>
          <a:solidFill>
            <a:srgbClr val="80A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</p:spTree>
    <p:extLst>
      <p:ext uri="{BB962C8B-B14F-4D97-AF65-F5344CB8AC3E}">
        <p14:creationId xmlns:p14="http://schemas.microsoft.com/office/powerpoint/2010/main" val="27823210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9DB9470-3927-0077-7092-349AAF147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329" y="510404"/>
            <a:ext cx="10955809" cy="459998"/>
          </a:xfrm>
        </p:spPr>
        <p:txBody>
          <a:bodyPr/>
          <a:lstStyle/>
          <a:p>
            <a:r>
              <a:rPr lang="en-US" b="1" dirty="0"/>
              <a:t>ICH Q1 Stability Revision is in its Public Consultation Phase</a:t>
            </a:r>
            <a:endParaRPr lang="en-GB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ACE241-A468-D37A-738C-6868EDDC430B}"/>
              </a:ext>
            </a:extLst>
          </p:cNvPr>
          <p:cNvSpPr txBox="1"/>
          <p:nvPr/>
        </p:nvSpPr>
        <p:spPr>
          <a:xfrm>
            <a:off x="7661940" y="5677265"/>
            <a:ext cx="26181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404040"/>
                </a:solidFill>
                <a:latin typeface="Arial"/>
                <a:cs typeface="+mn-cs"/>
              </a:rPr>
              <a:t>Revision of ICH Stability training materials</a:t>
            </a:r>
          </a:p>
        </p:txBody>
      </p:sp>
      <p:sp>
        <p:nvSpPr>
          <p:cNvPr id="13" name="L-Shape 12">
            <a:extLst>
              <a:ext uri="{FF2B5EF4-FFF2-40B4-BE49-F238E27FC236}">
                <a16:creationId xmlns:a16="http://schemas.microsoft.com/office/drawing/2014/main" id="{AD05DA0A-E0CE-C73F-B9D6-7ECDDCB3E1CC}"/>
              </a:ext>
            </a:extLst>
          </p:cNvPr>
          <p:cNvSpPr/>
          <p:nvPr/>
        </p:nvSpPr>
        <p:spPr>
          <a:xfrm rot="5400000">
            <a:off x="4565622" y="4162445"/>
            <a:ext cx="805256" cy="1339928"/>
          </a:xfrm>
          <a:prstGeom prst="corner">
            <a:avLst>
              <a:gd name="adj1" fmla="val 16120"/>
              <a:gd name="adj2" fmla="val 1611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24C2CA2-2814-075E-670E-DAA12326E9EE}"/>
              </a:ext>
            </a:extLst>
          </p:cNvPr>
          <p:cNvSpPr/>
          <p:nvPr/>
        </p:nvSpPr>
        <p:spPr>
          <a:xfrm>
            <a:off x="4666230" y="4588046"/>
            <a:ext cx="1209694" cy="1060368"/>
          </a:xfrm>
          <a:custGeom>
            <a:avLst/>
            <a:gdLst>
              <a:gd name="connsiteX0" fmla="*/ 0 w 1209694"/>
              <a:gd name="connsiteY0" fmla="*/ 0 h 1060368"/>
              <a:gd name="connsiteX1" fmla="*/ 1209694 w 1209694"/>
              <a:gd name="connsiteY1" fmla="*/ 0 h 1060368"/>
              <a:gd name="connsiteX2" fmla="*/ 1209694 w 1209694"/>
              <a:gd name="connsiteY2" fmla="*/ 1060368 h 1060368"/>
              <a:gd name="connsiteX3" fmla="*/ 0 w 1209694"/>
              <a:gd name="connsiteY3" fmla="*/ 1060368 h 1060368"/>
              <a:gd name="connsiteX4" fmla="*/ 0 w 1209694"/>
              <a:gd name="connsiteY4" fmla="*/ 0 h 1060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9694" h="1060368">
                <a:moveTo>
                  <a:pt x="0" y="0"/>
                </a:moveTo>
                <a:lnTo>
                  <a:pt x="1209694" y="0"/>
                </a:lnTo>
                <a:lnTo>
                  <a:pt x="1209694" y="1060368"/>
                </a:lnTo>
                <a:lnTo>
                  <a:pt x="0" y="10603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8100" tIns="38100" rIns="38100" bIns="38100" numCol="1" spcCol="1270" anchor="t" anchorCtr="0">
            <a:noAutofit/>
          </a:bodyPr>
          <a:lstStyle/>
          <a:p>
            <a:pPr marL="87313" marR="0" lvl="0" indent="-87313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40404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Consensus    Building</a:t>
            </a:r>
          </a:p>
          <a:p>
            <a:pPr marL="87313" marR="0" lvl="0" indent="-87313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40404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Develop draft guidance</a:t>
            </a: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9AE71835-F5B7-C95C-ECB4-A21F8B5B777D}"/>
              </a:ext>
            </a:extLst>
          </p:cNvPr>
          <p:cNvSpPr/>
          <p:nvPr/>
        </p:nvSpPr>
        <p:spPr>
          <a:xfrm>
            <a:off x="5412655" y="4063798"/>
            <a:ext cx="228244" cy="228244"/>
          </a:xfrm>
          <a:prstGeom prst="triangle">
            <a:avLst>
              <a:gd name="adj" fmla="val 10000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6" name="L-Shape 15">
            <a:extLst>
              <a:ext uri="{FF2B5EF4-FFF2-40B4-BE49-F238E27FC236}">
                <a16:creationId xmlns:a16="http://schemas.microsoft.com/office/drawing/2014/main" id="{7C557A4C-3933-B045-6190-2E6821B72070}"/>
              </a:ext>
            </a:extLst>
          </p:cNvPr>
          <p:cNvSpPr/>
          <p:nvPr/>
        </p:nvSpPr>
        <p:spPr>
          <a:xfrm rot="5400000">
            <a:off x="6046525" y="3795994"/>
            <a:ext cx="805256" cy="1339928"/>
          </a:xfrm>
          <a:prstGeom prst="corner">
            <a:avLst>
              <a:gd name="adj1" fmla="val 16120"/>
              <a:gd name="adj2" fmla="val 1611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B906BCC-5C2B-2DFC-95DF-F5E6BBD7FDF1}"/>
              </a:ext>
            </a:extLst>
          </p:cNvPr>
          <p:cNvSpPr/>
          <p:nvPr/>
        </p:nvSpPr>
        <p:spPr>
          <a:xfrm>
            <a:off x="5912107" y="4196344"/>
            <a:ext cx="1209694" cy="1060368"/>
          </a:xfrm>
          <a:custGeom>
            <a:avLst/>
            <a:gdLst>
              <a:gd name="connsiteX0" fmla="*/ 0 w 1209694"/>
              <a:gd name="connsiteY0" fmla="*/ 0 h 1060368"/>
              <a:gd name="connsiteX1" fmla="*/ 1209694 w 1209694"/>
              <a:gd name="connsiteY1" fmla="*/ 0 h 1060368"/>
              <a:gd name="connsiteX2" fmla="*/ 1209694 w 1209694"/>
              <a:gd name="connsiteY2" fmla="*/ 1060368 h 1060368"/>
              <a:gd name="connsiteX3" fmla="*/ 0 w 1209694"/>
              <a:gd name="connsiteY3" fmla="*/ 1060368 h 1060368"/>
              <a:gd name="connsiteX4" fmla="*/ 0 w 1209694"/>
              <a:gd name="connsiteY4" fmla="*/ 0 h 1060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9694" h="1060368">
                <a:moveTo>
                  <a:pt x="0" y="0"/>
                </a:moveTo>
                <a:lnTo>
                  <a:pt x="1209694" y="0"/>
                </a:lnTo>
                <a:lnTo>
                  <a:pt x="1209694" y="1060368"/>
                </a:lnTo>
                <a:lnTo>
                  <a:pt x="0" y="10603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8100" tIns="38100" rIns="38100" bIns="38100" numCol="1" spcCol="1270" anchor="t" anchorCtr="0">
            <a:noAutofit/>
          </a:bodyPr>
          <a:lstStyle/>
          <a:p>
            <a:pPr marL="85725" marR="0" lvl="0" indent="-85725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40404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Draft guideline adopted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8A92870B-FDF0-0601-C999-645297E41243}"/>
              </a:ext>
            </a:extLst>
          </p:cNvPr>
          <p:cNvSpPr/>
          <p:nvPr/>
        </p:nvSpPr>
        <p:spPr>
          <a:xfrm>
            <a:off x="6893558" y="3697347"/>
            <a:ext cx="228244" cy="228244"/>
          </a:xfrm>
          <a:prstGeom prst="triangle">
            <a:avLst>
              <a:gd name="adj" fmla="val 10000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9" name="L-Shape 18">
            <a:extLst>
              <a:ext uri="{FF2B5EF4-FFF2-40B4-BE49-F238E27FC236}">
                <a16:creationId xmlns:a16="http://schemas.microsoft.com/office/drawing/2014/main" id="{40A45FA1-E0F6-F6A8-FAAC-CC07255FDFD7}"/>
              </a:ext>
            </a:extLst>
          </p:cNvPr>
          <p:cNvSpPr/>
          <p:nvPr/>
        </p:nvSpPr>
        <p:spPr>
          <a:xfrm rot="5400000">
            <a:off x="7527427" y="3429544"/>
            <a:ext cx="805256" cy="1339928"/>
          </a:xfrm>
          <a:prstGeom prst="corner">
            <a:avLst>
              <a:gd name="adj1" fmla="val 16120"/>
              <a:gd name="adj2" fmla="val 1611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688CAF0F-20ED-B162-D0CC-B8E91F06ABC2}"/>
              </a:ext>
            </a:extLst>
          </p:cNvPr>
          <p:cNvSpPr/>
          <p:nvPr/>
        </p:nvSpPr>
        <p:spPr>
          <a:xfrm>
            <a:off x="7359511" y="3896845"/>
            <a:ext cx="1280618" cy="1060368"/>
          </a:xfrm>
          <a:custGeom>
            <a:avLst/>
            <a:gdLst>
              <a:gd name="connsiteX0" fmla="*/ 0 w 1280618"/>
              <a:gd name="connsiteY0" fmla="*/ 0 h 1060368"/>
              <a:gd name="connsiteX1" fmla="*/ 1280618 w 1280618"/>
              <a:gd name="connsiteY1" fmla="*/ 0 h 1060368"/>
              <a:gd name="connsiteX2" fmla="*/ 1280618 w 1280618"/>
              <a:gd name="connsiteY2" fmla="*/ 1060368 h 1060368"/>
              <a:gd name="connsiteX3" fmla="*/ 0 w 1280618"/>
              <a:gd name="connsiteY3" fmla="*/ 1060368 h 1060368"/>
              <a:gd name="connsiteX4" fmla="*/ 0 w 1280618"/>
              <a:gd name="connsiteY4" fmla="*/ 0 h 1060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0618" h="1060368">
                <a:moveTo>
                  <a:pt x="0" y="0"/>
                </a:moveTo>
                <a:lnTo>
                  <a:pt x="1280618" y="0"/>
                </a:lnTo>
                <a:lnTo>
                  <a:pt x="1280618" y="1060368"/>
                </a:lnTo>
                <a:lnTo>
                  <a:pt x="0" y="10603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8100" tIns="38100" rIns="38100" bIns="38100" numCol="1" spcCol="1270" anchor="t" anchorCtr="0">
            <a:noAutofit/>
          </a:bodyPr>
          <a:lstStyle/>
          <a:p>
            <a:pPr marL="85725" marR="0" lvl="0" indent="-85725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40404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- Public   Consultation</a:t>
            </a:r>
          </a:p>
        </p:txBody>
      </p:sp>
      <p:sp>
        <p:nvSpPr>
          <p:cNvPr id="23" name="L-Shape 22">
            <a:extLst>
              <a:ext uri="{FF2B5EF4-FFF2-40B4-BE49-F238E27FC236}">
                <a16:creationId xmlns:a16="http://schemas.microsoft.com/office/drawing/2014/main" id="{7625089A-20E6-569F-AC85-D057663FEAC6}"/>
              </a:ext>
            </a:extLst>
          </p:cNvPr>
          <p:cNvSpPr/>
          <p:nvPr/>
        </p:nvSpPr>
        <p:spPr>
          <a:xfrm rot="5400000">
            <a:off x="10504936" y="2583129"/>
            <a:ext cx="735769" cy="1351546"/>
          </a:xfrm>
          <a:prstGeom prst="corner">
            <a:avLst>
              <a:gd name="adj1" fmla="val 16120"/>
              <a:gd name="adj2" fmla="val 1611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4" name="L-Shape 23">
            <a:extLst>
              <a:ext uri="{FF2B5EF4-FFF2-40B4-BE49-F238E27FC236}">
                <a16:creationId xmlns:a16="http://schemas.microsoft.com/office/drawing/2014/main" id="{D5E81DE8-E7A4-237B-AA5F-223A176A57C4}"/>
              </a:ext>
            </a:extLst>
          </p:cNvPr>
          <p:cNvSpPr/>
          <p:nvPr/>
        </p:nvSpPr>
        <p:spPr>
          <a:xfrm rot="5400000">
            <a:off x="9043827" y="2922800"/>
            <a:ext cx="735769" cy="1351546"/>
          </a:xfrm>
          <a:prstGeom prst="corner">
            <a:avLst>
              <a:gd name="adj1" fmla="val 16120"/>
              <a:gd name="adj2" fmla="val 1611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4BAE9B9A-292F-A2C2-D63C-791493D02E89}"/>
              </a:ext>
            </a:extLst>
          </p:cNvPr>
          <p:cNvSpPr/>
          <p:nvPr/>
        </p:nvSpPr>
        <p:spPr>
          <a:xfrm>
            <a:off x="9857262" y="2909952"/>
            <a:ext cx="230222" cy="208548"/>
          </a:xfrm>
          <a:prstGeom prst="triangle">
            <a:avLst>
              <a:gd name="adj" fmla="val 10000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FCE8257B-FD96-66F5-F07A-933589443328}"/>
              </a:ext>
            </a:extLst>
          </p:cNvPr>
          <p:cNvSpPr/>
          <p:nvPr/>
        </p:nvSpPr>
        <p:spPr>
          <a:xfrm>
            <a:off x="8347246" y="3225587"/>
            <a:ext cx="230222" cy="208548"/>
          </a:xfrm>
          <a:prstGeom prst="triangle">
            <a:avLst>
              <a:gd name="adj" fmla="val 10000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15ED44F-B295-339B-FCD0-1E8FD2F4F7BB}"/>
              </a:ext>
            </a:extLst>
          </p:cNvPr>
          <p:cNvSpPr txBox="1"/>
          <p:nvPr/>
        </p:nvSpPr>
        <p:spPr>
          <a:xfrm>
            <a:off x="4323548" y="3872083"/>
            <a:ext cx="1094114" cy="515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2000" dirty="0">
                <a:solidFill>
                  <a:srgbClr val="404040"/>
                </a:solidFill>
                <a:latin typeface="Arial"/>
                <a:cs typeface="+mn-cs"/>
              </a:rPr>
              <a:t>Step 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432C20-F17C-6DFA-3776-D8B95458A09B}"/>
              </a:ext>
            </a:extLst>
          </p:cNvPr>
          <p:cNvSpPr txBox="1"/>
          <p:nvPr/>
        </p:nvSpPr>
        <p:spPr>
          <a:xfrm>
            <a:off x="5776386" y="3485188"/>
            <a:ext cx="1094114" cy="515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2000" dirty="0">
                <a:solidFill>
                  <a:srgbClr val="404040"/>
                </a:solidFill>
                <a:latin typeface="Arial"/>
                <a:cs typeface="+mn-cs"/>
              </a:rPr>
              <a:t>Step 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4DEF8C9-BD5D-3D53-C40B-D86F570D5CBF}"/>
              </a:ext>
            </a:extLst>
          </p:cNvPr>
          <p:cNvSpPr txBox="1"/>
          <p:nvPr/>
        </p:nvSpPr>
        <p:spPr>
          <a:xfrm>
            <a:off x="7390991" y="3123051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2000" b="1" dirty="0">
                <a:solidFill>
                  <a:srgbClr val="404040"/>
                </a:solidFill>
                <a:latin typeface="Arial"/>
                <a:cs typeface="+mn-cs"/>
              </a:rPr>
              <a:t>Step 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C299DA8-BA7A-88BE-E610-6AD652A05DAD}"/>
              </a:ext>
            </a:extLst>
          </p:cNvPr>
          <p:cNvSpPr txBox="1"/>
          <p:nvPr/>
        </p:nvSpPr>
        <p:spPr>
          <a:xfrm>
            <a:off x="8761000" y="2708439"/>
            <a:ext cx="1094114" cy="515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2000" dirty="0">
                <a:solidFill>
                  <a:srgbClr val="404040"/>
                </a:solidFill>
                <a:latin typeface="Arial"/>
                <a:cs typeface="+mn-cs"/>
              </a:rPr>
              <a:t>Step 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521596F-CD4B-0A5B-6026-C8EF4C4C1ACA}"/>
              </a:ext>
            </a:extLst>
          </p:cNvPr>
          <p:cNvSpPr txBox="1"/>
          <p:nvPr/>
        </p:nvSpPr>
        <p:spPr>
          <a:xfrm>
            <a:off x="10327135" y="2365547"/>
            <a:ext cx="1094114" cy="515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2000" dirty="0">
                <a:solidFill>
                  <a:srgbClr val="404040"/>
                </a:solidFill>
                <a:latin typeface="Arial"/>
                <a:cs typeface="+mn-cs"/>
              </a:rPr>
              <a:t>Step 5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45EAEE0-FFD7-369B-7EF8-1102C78D95C5}"/>
              </a:ext>
            </a:extLst>
          </p:cNvPr>
          <p:cNvGrpSpPr/>
          <p:nvPr/>
        </p:nvGrpSpPr>
        <p:grpSpPr>
          <a:xfrm>
            <a:off x="8859662" y="3451599"/>
            <a:ext cx="1292073" cy="1154600"/>
            <a:chOff x="3050440" y="438589"/>
            <a:chExt cx="1262218" cy="124515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E1BC61D-531F-C43A-866E-A1D1B877CFB8}"/>
                </a:ext>
              </a:extLst>
            </p:cNvPr>
            <p:cNvSpPr/>
            <p:nvPr/>
          </p:nvSpPr>
          <p:spPr>
            <a:xfrm>
              <a:off x="3050440" y="638892"/>
              <a:ext cx="1191991" cy="104485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0F470D8-1A3E-9C27-FB46-83F6A54A46FE}"/>
                </a:ext>
              </a:extLst>
            </p:cNvPr>
            <p:cNvSpPr txBox="1"/>
            <p:nvPr/>
          </p:nvSpPr>
          <p:spPr>
            <a:xfrm>
              <a:off x="3120667" y="438589"/>
              <a:ext cx="1191991" cy="104485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t" anchorCtr="0">
              <a:noAutofit/>
            </a:bodyPr>
            <a:lstStyle/>
            <a:p>
              <a:pPr marL="85725" marR="0" lvl="0" indent="-85725" defTabSz="533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0404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 Adoption of final guideline (or revision)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224E23-0C05-9B2C-DE48-67E0BF1BF0BC}"/>
              </a:ext>
            </a:extLst>
          </p:cNvPr>
          <p:cNvGrpSpPr/>
          <p:nvPr/>
        </p:nvGrpSpPr>
        <p:grpSpPr>
          <a:xfrm>
            <a:off x="10316336" y="3142354"/>
            <a:ext cx="1351547" cy="968864"/>
            <a:chOff x="3050440" y="638892"/>
            <a:chExt cx="1191991" cy="104485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6924C04-CD64-C460-6815-AB3A48F8EA30}"/>
                </a:ext>
              </a:extLst>
            </p:cNvPr>
            <p:cNvSpPr/>
            <p:nvPr/>
          </p:nvSpPr>
          <p:spPr>
            <a:xfrm>
              <a:off x="3050440" y="638892"/>
              <a:ext cx="1191991" cy="104485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A639D1C-1232-12AD-C614-C94F554874D4}"/>
                </a:ext>
              </a:extLst>
            </p:cNvPr>
            <p:cNvSpPr txBox="1"/>
            <p:nvPr/>
          </p:nvSpPr>
          <p:spPr>
            <a:xfrm>
              <a:off x="3050440" y="638892"/>
              <a:ext cx="1191991" cy="104485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t" anchorCtr="0">
              <a:noAutofit/>
            </a:bodyPr>
            <a:lstStyle/>
            <a:p>
              <a:pPr marL="85725" marR="0" lvl="0" indent="-85725" defTabSz="533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0404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 Implementation by Regulators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EE487A53-73E7-6EDA-C25F-CD03A8662CEC}"/>
              </a:ext>
            </a:extLst>
          </p:cNvPr>
          <p:cNvSpPr txBox="1"/>
          <p:nvPr/>
        </p:nvSpPr>
        <p:spPr>
          <a:xfrm>
            <a:off x="4595205" y="5235037"/>
            <a:ext cx="1068849" cy="713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Sign-off by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Industry &amp; Regulator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C4961D1-FFB0-8D9E-CD46-766AADAB726C}"/>
              </a:ext>
            </a:extLst>
          </p:cNvPr>
          <p:cNvSpPr txBox="1"/>
          <p:nvPr/>
        </p:nvSpPr>
        <p:spPr>
          <a:xfrm>
            <a:off x="5975913" y="4802438"/>
            <a:ext cx="1423158" cy="7135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Endorsement 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by ICH assembly 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and Regulator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0C3F291-13F9-01FC-545B-1CF6CB93D936}"/>
              </a:ext>
            </a:extLst>
          </p:cNvPr>
          <p:cNvSpPr txBox="1"/>
          <p:nvPr/>
        </p:nvSpPr>
        <p:spPr>
          <a:xfrm>
            <a:off x="7570035" y="4503566"/>
            <a:ext cx="1020585" cy="7135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Sign-off by 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Regulatory 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Topic lead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7B1BB7-14DF-6A15-7D41-27FD237DD5A7}"/>
              </a:ext>
            </a:extLst>
          </p:cNvPr>
          <p:cNvSpPr txBox="1"/>
          <p:nvPr/>
        </p:nvSpPr>
        <p:spPr>
          <a:xfrm>
            <a:off x="8990859" y="3934540"/>
            <a:ext cx="1020585" cy="515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Adopted by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3333CC"/>
                </a:solidFill>
                <a:latin typeface="Arial"/>
                <a:cs typeface="+mn-cs"/>
              </a:rPr>
              <a:t>Regulators</a:t>
            </a:r>
          </a:p>
        </p:txBody>
      </p:sp>
      <p:sp>
        <p:nvSpPr>
          <p:cNvPr id="42" name="L-Shape 41">
            <a:extLst>
              <a:ext uri="{FF2B5EF4-FFF2-40B4-BE49-F238E27FC236}">
                <a16:creationId xmlns:a16="http://schemas.microsoft.com/office/drawing/2014/main" id="{4DDFBD74-E6A8-D9D1-8F8F-93C9FBF26185}"/>
              </a:ext>
            </a:extLst>
          </p:cNvPr>
          <p:cNvSpPr/>
          <p:nvPr/>
        </p:nvSpPr>
        <p:spPr>
          <a:xfrm rot="5400000">
            <a:off x="3187730" y="4474453"/>
            <a:ext cx="550818" cy="1351911"/>
          </a:xfrm>
          <a:prstGeom prst="corner">
            <a:avLst>
              <a:gd name="adj1" fmla="val 16120"/>
              <a:gd name="adj2" fmla="val 1611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A4913F3-E0D1-D938-5302-1487DB4FB454}"/>
              </a:ext>
            </a:extLst>
          </p:cNvPr>
          <p:cNvSpPr/>
          <p:nvPr/>
        </p:nvSpPr>
        <p:spPr>
          <a:xfrm>
            <a:off x="6968107" y="4109415"/>
            <a:ext cx="1220514" cy="784960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endParaRPr lang="en-GB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659F411-FF0C-CA85-F873-A7928B17B78F}"/>
              </a:ext>
            </a:extLst>
          </p:cNvPr>
          <p:cNvGrpSpPr/>
          <p:nvPr/>
        </p:nvGrpSpPr>
        <p:grpSpPr>
          <a:xfrm>
            <a:off x="2787183" y="5063537"/>
            <a:ext cx="1220514" cy="784960"/>
            <a:chOff x="124725" y="1615816"/>
            <a:chExt cx="1131372" cy="991713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027CCB0-45B2-4F24-A615-FE1A6D22DC33}"/>
                </a:ext>
              </a:extLst>
            </p:cNvPr>
            <p:cNvSpPr/>
            <p:nvPr/>
          </p:nvSpPr>
          <p:spPr>
            <a:xfrm>
              <a:off x="124725" y="1615816"/>
              <a:ext cx="1131372" cy="9917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E26E258-577C-A301-D5FD-3293270852A4}"/>
                </a:ext>
              </a:extLst>
            </p:cNvPr>
            <p:cNvSpPr txBox="1"/>
            <p:nvPr/>
          </p:nvSpPr>
          <p:spPr>
            <a:xfrm>
              <a:off x="124725" y="1615816"/>
              <a:ext cx="1131372" cy="9917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t" anchorCtr="0">
              <a:noAutofit/>
            </a:bodyPr>
            <a:lstStyle/>
            <a:p>
              <a:pPr marL="171450" marR="0" lvl="0" indent="-171450" defTabSz="533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0404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cept Paper</a:t>
              </a:r>
            </a:p>
            <a:p>
              <a:pPr marL="171450" marR="0" lvl="0" indent="-171450" defTabSz="533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0404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siness Plan</a:t>
              </a:r>
            </a:p>
          </p:txBody>
        </p:sp>
      </p:grp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6B636E48-DC84-069B-35A2-C04882F46E89}"/>
              </a:ext>
            </a:extLst>
          </p:cNvPr>
          <p:cNvCxnSpPr>
            <a:cxnSpLocks/>
          </p:cNvCxnSpPr>
          <p:nvPr/>
        </p:nvCxnSpPr>
        <p:spPr>
          <a:xfrm flipV="1">
            <a:off x="7716835" y="5581803"/>
            <a:ext cx="2508371" cy="18229"/>
          </a:xfrm>
          <a:prstGeom prst="straightConnector1">
            <a:avLst/>
          </a:prstGeom>
          <a:noFill/>
          <a:ln w="57150" cap="flat" cmpd="sng" algn="ctr">
            <a:solidFill>
              <a:srgbClr val="799C4B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3CCB084D-2B76-F2F5-18CB-ABCAA2A1454B}"/>
              </a:ext>
            </a:extLst>
          </p:cNvPr>
          <p:cNvSpPr/>
          <p:nvPr/>
        </p:nvSpPr>
        <p:spPr>
          <a:xfrm>
            <a:off x="7089609" y="2806050"/>
            <a:ext cx="1699040" cy="2467946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F8106A6-7217-95A5-4516-EE334766E218}"/>
              </a:ext>
            </a:extLst>
          </p:cNvPr>
          <p:cNvSpPr txBox="1"/>
          <p:nvPr/>
        </p:nvSpPr>
        <p:spPr>
          <a:xfrm>
            <a:off x="1313199" y="5246224"/>
            <a:ext cx="1535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404040"/>
                </a:solidFill>
                <a:latin typeface="Arial"/>
                <a:cs typeface="+mn-cs"/>
              </a:rPr>
              <a:t>Concept paper outline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404040"/>
                </a:solidFill>
                <a:latin typeface="Arial"/>
                <a:cs typeface="+mn-cs"/>
              </a:rPr>
              <a:t>developed by QDG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GB" sz="1000" dirty="0">
                <a:solidFill>
                  <a:srgbClr val="404040"/>
                </a:solidFill>
                <a:latin typeface="Arial"/>
                <a:cs typeface="+mn-cs"/>
              </a:rPr>
              <a:t>Dec 2020</a:t>
            </a:r>
          </a:p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lang="en-GB" sz="1000" dirty="0">
              <a:solidFill>
                <a:srgbClr val="404040"/>
              </a:solidFill>
              <a:latin typeface="Arial"/>
              <a:cs typeface="+mn-cs"/>
            </a:endParaRPr>
          </a:p>
        </p:txBody>
      </p:sp>
      <p:sp>
        <p:nvSpPr>
          <p:cNvPr id="50" name="L-Shape 49">
            <a:extLst>
              <a:ext uri="{FF2B5EF4-FFF2-40B4-BE49-F238E27FC236}">
                <a16:creationId xmlns:a16="http://schemas.microsoft.com/office/drawing/2014/main" id="{EBD11D17-7BFA-F40F-A7D6-CA6709EB9691}"/>
              </a:ext>
            </a:extLst>
          </p:cNvPr>
          <p:cNvSpPr/>
          <p:nvPr/>
        </p:nvSpPr>
        <p:spPr>
          <a:xfrm rot="5400000">
            <a:off x="1645895" y="4728519"/>
            <a:ext cx="550818" cy="1351911"/>
          </a:xfrm>
          <a:prstGeom prst="corner">
            <a:avLst>
              <a:gd name="adj1" fmla="val 16120"/>
              <a:gd name="adj2" fmla="val 16110"/>
            </a:avLst>
          </a:prstGeom>
          <a:solidFill>
            <a:srgbClr val="799C4B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799C4B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A4890B8-9DB5-6A2C-D7FB-7D625E30057E}"/>
              </a:ext>
            </a:extLst>
          </p:cNvPr>
          <p:cNvSpPr txBox="1"/>
          <p:nvPr/>
        </p:nvSpPr>
        <p:spPr>
          <a:xfrm>
            <a:off x="5351199" y="5524233"/>
            <a:ext cx="684080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4572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GB" sz="1800" i="1" dirty="0">
                <a:solidFill>
                  <a:srgbClr val="404040"/>
                </a:solidFill>
                <a:latin typeface="Arial"/>
                <a:cs typeface="+mn-cs"/>
              </a:rPr>
              <a:t>	  	    Q2 2025</a:t>
            </a:r>
            <a:r>
              <a:rPr lang="en-GB" sz="1800" i="1" dirty="0">
                <a:solidFill>
                  <a:schemeClr val="tx1"/>
                </a:solidFill>
                <a:latin typeface="Arial"/>
                <a:cs typeface="+mn-cs"/>
              </a:rPr>
              <a:t>	   					</a:t>
            </a:r>
            <a:r>
              <a:rPr lang="en-GB" i="1" dirty="0">
                <a:latin typeface="Arial"/>
              </a:rPr>
              <a:t>      </a:t>
            </a:r>
            <a:r>
              <a:rPr lang="en-GB" sz="1800" i="1" dirty="0">
                <a:solidFill>
                  <a:schemeClr val="tx1"/>
                </a:solidFill>
                <a:latin typeface="Arial"/>
                <a:cs typeface="+mn-cs"/>
              </a:rPr>
              <a:t>Q2 2027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AFF66B-C8B4-E8F2-42E8-0446821706B4}"/>
              </a:ext>
            </a:extLst>
          </p:cNvPr>
          <p:cNvSpPr txBox="1"/>
          <p:nvPr/>
        </p:nvSpPr>
        <p:spPr>
          <a:xfrm>
            <a:off x="7484272" y="1843959"/>
            <a:ext cx="806824" cy="23128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2030"/>
              </a:lnSpc>
            </a:pPr>
            <a:r>
              <a:rPr lang="en-US" sz="1400" b="1" dirty="0">
                <a:solidFill>
                  <a:srgbClr val="FF0000"/>
                </a:solidFill>
                <a:ea typeface="MS Mincho" panose="02020609040205080304" pitchFamily="49" charset="-128"/>
              </a:rPr>
              <a:t>May</a:t>
            </a:r>
            <a:r>
              <a:rPr lang="en-US" sz="1400" b="1" dirty="0">
                <a:solidFill>
                  <a:srgbClr val="FF0000"/>
                </a:solidFill>
                <a:latin typeface="+mn-lt"/>
                <a:ea typeface="MS Mincho" panose="02020609040205080304" pitchFamily="49" charset="-128"/>
              </a:rPr>
              <a:t> 2026</a:t>
            </a:r>
            <a:endParaRPr lang="en-GB" sz="1400" b="1" dirty="0">
              <a:solidFill>
                <a:srgbClr val="FF0000"/>
              </a:solidFill>
              <a:latin typeface="+mn-lt"/>
              <a:ea typeface="MS Mincho" panose="02020609040205080304" pitchFamily="49" charset="-128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C61A8B6-1A81-F304-F66B-8B4E0B230529}"/>
              </a:ext>
            </a:extLst>
          </p:cNvPr>
          <p:cNvCxnSpPr>
            <a:cxnSpLocks/>
            <a:endCxn id="48" idx="0"/>
          </p:cNvCxnSpPr>
          <p:nvPr/>
        </p:nvCxnSpPr>
        <p:spPr>
          <a:xfrm>
            <a:off x="7906764" y="2086903"/>
            <a:ext cx="32365" cy="719147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D73F9A5A-6C4F-4EEE-41C3-D2DFD2E39137}"/>
              </a:ext>
            </a:extLst>
          </p:cNvPr>
          <p:cNvSpPr txBox="1"/>
          <p:nvPr/>
        </p:nvSpPr>
        <p:spPr>
          <a:xfrm>
            <a:off x="9583631" y="1830038"/>
            <a:ext cx="1378583" cy="23153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2030"/>
              </a:lnSpc>
            </a:pPr>
            <a:r>
              <a:rPr lang="en-US" sz="1400" b="1" dirty="0">
                <a:solidFill>
                  <a:srgbClr val="FF0000"/>
                </a:solidFill>
                <a:latin typeface="+mn-lt"/>
                <a:ea typeface="MS Mincho" panose="02020609040205080304" pitchFamily="49" charset="-128"/>
              </a:rPr>
              <a:t>November 2026</a:t>
            </a:r>
            <a:endParaRPr lang="en-GB" sz="1400" b="1" dirty="0">
              <a:solidFill>
                <a:srgbClr val="FF0000"/>
              </a:solidFill>
              <a:latin typeface="+mn-lt"/>
              <a:ea typeface="MS Mincho" panose="02020609040205080304" pitchFamily="49" charset="-128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F51FF48E-3CD7-ABEA-BF2B-559EB3EE8413}"/>
              </a:ext>
            </a:extLst>
          </p:cNvPr>
          <p:cNvCxnSpPr>
            <a:cxnSpLocks/>
          </p:cNvCxnSpPr>
          <p:nvPr/>
        </p:nvCxnSpPr>
        <p:spPr>
          <a:xfrm>
            <a:off x="9972373" y="2063851"/>
            <a:ext cx="0" cy="692906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015796BE-A457-75D2-2671-049301F4841D}"/>
              </a:ext>
            </a:extLst>
          </p:cNvPr>
          <p:cNvSpPr txBox="1"/>
          <p:nvPr/>
        </p:nvSpPr>
        <p:spPr>
          <a:xfrm>
            <a:off x="10364695" y="6423944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EFPIA</a:t>
            </a:r>
            <a:endParaRPr lang="sl-SI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9C4598-7F57-EE2A-6087-65540FA02DF8}"/>
              </a:ext>
            </a:extLst>
          </p:cNvPr>
          <p:cNvSpPr txBox="1"/>
          <p:nvPr/>
        </p:nvSpPr>
        <p:spPr>
          <a:xfrm>
            <a:off x="1209404" y="5917627"/>
            <a:ext cx="9635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nnex II about enhanced stability modeling to claim a commercial shelf life beyond real data </a:t>
            </a:r>
            <a:endParaRPr lang="sl-SI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761D475-DBB9-4F5A-C069-510419702FFB}"/>
              </a:ext>
            </a:extLst>
          </p:cNvPr>
          <p:cNvSpPr txBox="1"/>
          <p:nvPr/>
        </p:nvSpPr>
        <p:spPr>
          <a:xfrm>
            <a:off x="8273423" y="2387235"/>
            <a:ext cx="858312" cy="23128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2030"/>
              </a:lnSpc>
            </a:pPr>
            <a:r>
              <a:rPr lang="en-US" sz="1400" b="1" dirty="0">
                <a:solidFill>
                  <a:srgbClr val="FF0000"/>
                </a:solidFill>
                <a:latin typeface="+mn-lt"/>
                <a:ea typeface="MS Mincho" panose="02020609040205080304" pitchFamily="49" charset="-128"/>
              </a:rPr>
              <a:t>June 2026</a:t>
            </a:r>
            <a:endParaRPr lang="en-GB" sz="1400" b="1" dirty="0">
              <a:solidFill>
                <a:srgbClr val="FF0000"/>
              </a:solidFill>
              <a:latin typeface="+mn-lt"/>
              <a:ea typeface="MS Mincho" panose="02020609040205080304" pitchFamily="49" charset="-128"/>
            </a:endParaRP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6AFAFAF2-B729-083E-111A-7EA8266B856C}"/>
              </a:ext>
            </a:extLst>
          </p:cNvPr>
          <p:cNvSpPr/>
          <p:nvPr/>
        </p:nvSpPr>
        <p:spPr>
          <a:xfrm rot="19633819">
            <a:off x="7903782" y="2816008"/>
            <a:ext cx="793912" cy="500207"/>
          </a:xfrm>
          <a:prstGeom prst="arc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203512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99FFEC-CB50-EBBA-790D-0FC5F910F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476672"/>
            <a:ext cx="5477034" cy="1661993"/>
          </a:xfrm>
        </p:spPr>
        <p:txBody>
          <a:bodyPr/>
          <a:lstStyle/>
          <a:p>
            <a:r>
              <a:rPr lang="en-US" dirty="0"/>
              <a:t>Standard approach: </a:t>
            </a:r>
            <a:br>
              <a:rPr lang="en-US" dirty="0"/>
            </a:br>
            <a:r>
              <a:rPr lang="en-US" dirty="0"/>
              <a:t>Stability </a:t>
            </a:r>
            <a:r>
              <a:rPr lang="en-US" dirty="0">
                <a:solidFill>
                  <a:schemeClr val="accent1"/>
                </a:solidFill>
              </a:rPr>
              <a:t>Extrapolation in Time </a:t>
            </a:r>
            <a:r>
              <a:rPr lang="en-US" dirty="0"/>
              <a:t>Beyond Real Data</a:t>
            </a:r>
            <a:br>
              <a:rPr lang="sl-SI" dirty="0"/>
            </a:br>
            <a:endParaRPr lang="en-US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FE2F174-5B3E-D714-B82A-317FAC4399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6331" y="2207385"/>
            <a:ext cx="5072018" cy="4212000"/>
          </a:xfrm>
        </p:spPr>
        <p:txBody>
          <a:bodyPr/>
          <a:lstStyle/>
          <a:p>
            <a:r>
              <a:rPr lang="sl-SI" dirty="0"/>
              <a:t>Long-term </a:t>
            </a:r>
            <a:r>
              <a:rPr lang="sl-SI" dirty="0" err="1"/>
              <a:t>stability</a:t>
            </a:r>
            <a:r>
              <a:rPr lang="sl-SI" dirty="0"/>
              <a:t> </a:t>
            </a:r>
            <a:r>
              <a:rPr lang="sl-SI" dirty="0" err="1"/>
              <a:t>extrapolation</a:t>
            </a:r>
            <a:r>
              <a:rPr lang="sl-SI" dirty="0"/>
              <a:t> </a:t>
            </a:r>
            <a:r>
              <a:rPr lang="sl-SI" dirty="0" err="1"/>
              <a:t>of</a:t>
            </a:r>
            <a:r>
              <a:rPr lang="sl-SI" dirty="0"/>
              <a:t> 6 </a:t>
            </a:r>
            <a:r>
              <a:rPr lang="sl-SI" dirty="0" err="1"/>
              <a:t>months</a:t>
            </a:r>
            <a:r>
              <a:rPr lang="sl-SI" dirty="0"/>
              <a:t> </a:t>
            </a:r>
            <a:r>
              <a:rPr lang="sl-SI" dirty="0" err="1"/>
              <a:t>stability</a:t>
            </a:r>
            <a:r>
              <a:rPr lang="sl-SI" dirty="0"/>
              <a:t> </a:t>
            </a:r>
            <a:r>
              <a:rPr lang="en-US" dirty="0"/>
              <a:t>might</a:t>
            </a:r>
            <a:r>
              <a:rPr lang="sl-SI" dirty="0"/>
              <a:t> not </a:t>
            </a:r>
            <a:r>
              <a:rPr lang="en-US" dirty="0"/>
              <a:t>be </a:t>
            </a:r>
            <a:r>
              <a:rPr lang="sl-SI" dirty="0" err="1"/>
              <a:t>reliable</a:t>
            </a:r>
            <a:r>
              <a:rPr lang="sl-SI" dirty="0"/>
              <a:t>. </a:t>
            </a:r>
            <a:r>
              <a:rPr lang="sl-SI" dirty="0" err="1"/>
              <a:t>Why</a:t>
            </a:r>
            <a:r>
              <a:rPr lang="sl-SI" dirty="0"/>
              <a:t>?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At </a:t>
            </a:r>
            <a:r>
              <a:rPr lang="sl-SI" b="0" dirty="0"/>
              <a:t>intendant </a:t>
            </a:r>
            <a:r>
              <a:rPr lang="sl-SI" b="0" dirty="0" err="1"/>
              <a:t>storage</a:t>
            </a:r>
            <a:r>
              <a:rPr lang="sl-SI" b="0" dirty="0"/>
              <a:t> </a:t>
            </a:r>
            <a:r>
              <a:rPr lang="sl-SI" b="0" dirty="0" err="1"/>
              <a:t>condition</a:t>
            </a:r>
            <a:r>
              <a:rPr lang="sl-SI" b="0" dirty="0"/>
              <a:t> </a:t>
            </a:r>
            <a:r>
              <a:rPr lang="en-US" b="0" dirty="0"/>
              <a:t>5°C, the degradation of biologics is notably slow, often requiring a year or more for a reliable determination. </a:t>
            </a:r>
            <a:endParaRPr lang="sl-SI" b="0" dirty="0"/>
          </a:p>
          <a:p>
            <a:pPr marL="342900" indent="-342900">
              <a:buFont typeface="Arial" panose="020B0604020202020204" pitchFamily="34" charset="0"/>
              <a:buChar char="•"/>
              <a:tabLst>
                <a:tab pos="3136900" algn="l"/>
              </a:tabLst>
            </a:pPr>
            <a:r>
              <a:rPr lang="en-US" b="0" dirty="0"/>
              <a:t>The level of degraded biologics at 5°C stays within the variability range of analytical methods for several months.​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B683E0-11A3-934D-8038-EA2674D382B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7367588" y="6434138"/>
            <a:ext cx="4824412" cy="138112"/>
          </a:xfrm>
        </p:spPr>
        <p:txBody>
          <a:bodyPr/>
          <a:lstStyle/>
          <a:p>
            <a:r>
              <a:rPr lang="en-US"/>
              <a:t>CASSS Virtual Europe Discussion Group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B09893-D178-1323-69BD-634030FE16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8418" y="1213753"/>
            <a:ext cx="2914650" cy="4600575"/>
          </a:xfrm>
          <a:prstGeom prst="rect">
            <a:avLst/>
          </a:prstGeom>
        </p:spPr>
      </p:pic>
      <p:pic>
        <p:nvPicPr>
          <p:cNvPr id="7" name="Picture 6" descr="A diagram of a graph&#10;&#10;Description automatically generated">
            <a:extLst>
              <a:ext uri="{FF2B5EF4-FFF2-40B4-BE49-F238E27FC236}">
                <a16:creationId xmlns:a16="http://schemas.microsoft.com/office/drawing/2014/main" id="{F1D63AF0-F43D-3609-8B60-572FC373E9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43068" y="1248267"/>
            <a:ext cx="2914650" cy="460057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881AB15-C180-9FF9-ABFE-BF5273A99094}"/>
              </a:ext>
            </a:extLst>
          </p:cNvPr>
          <p:cNvSpPr txBox="1"/>
          <p:nvPr/>
        </p:nvSpPr>
        <p:spPr>
          <a:xfrm>
            <a:off x="7938500" y="1117696"/>
            <a:ext cx="2377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l-SI" dirty="0"/>
              <a:t>SEC </a:t>
            </a:r>
            <a:r>
              <a:rPr lang="sl-SI" dirty="0" err="1"/>
              <a:t>Aggregates</a:t>
            </a:r>
            <a:r>
              <a:rPr lang="sl-SI" dirty="0"/>
              <a:t> (%)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CD023F-7C0D-FB0C-5CCE-12EEBDC17973}"/>
              </a:ext>
            </a:extLst>
          </p:cNvPr>
          <p:cNvSpPr txBox="1"/>
          <p:nvPr/>
        </p:nvSpPr>
        <p:spPr>
          <a:xfrm>
            <a:off x="6984200" y="1637985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l-SI" dirty="0"/>
              <a:t>6 </a:t>
            </a:r>
            <a:r>
              <a:rPr lang="sl-SI" dirty="0" err="1"/>
              <a:t>months</a:t>
            </a:r>
            <a:r>
              <a:rPr lang="sl-SI" dirty="0"/>
              <a:t> data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815A61-B7D8-42D5-F9FD-9D01C3C08968}"/>
              </a:ext>
            </a:extLst>
          </p:cNvPr>
          <p:cNvSpPr txBox="1"/>
          <p:nvPr/>
        </p:nvSpPr>
        <p:spPr>
          <a:xfrm>
            <a:off x="9928786" y="1637985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l-SI" dirty="0"/>
              <a:t>3 </a:t>
            </a:r>
            <a:r>
              <a:rPr lang="sl-SI" dirty="0" err="1"/>
              <a:t>years</a:t>
            </a:r>
            <a:r>
              <a:rPr lang="sl-SI" dirty="0"/>
              <a:t> data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EC53F2-0791-7975-CE79-84E1E5747BB6}"/>
              </a:ext>
            </a:extLst>
          </p:cNvPr>
          <p:cNvSpPr txBox="1"/>
          <p:nvPr/>
        </p:nvSpPr>
        <p:spPr>
          <a:xfrm rot="16200000">
            <a:off x="5647546" y="2467268"/>
            <a:ext cx="91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(%)</a:t>
            </a:r>
            <a:endParaRPr lang="sl-SI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95F1B6-B34B-36ED-AF21-AA2EA718374E}"/>
              </a:ext>
            </a:extLst>
          </p:cNvPr>
          <p:cNvSpPr txBox="1"/>
          <p:nvPr/>
        </p:nvSpPr>
        <p:spPr>
          <a:xfrm rot="16200000">
            <a:off x="8584933" y="2510697"/>
            <a:ext cx="91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(%)</a:t>
            </a:r>
            <a:endParaRPr lang="sl-SI" sz="1400" dirty="0"/>
          </a:p>
        </p:txBody>
      </p:sp>
    </p:spTree>
    <p:extLst>
      <p:ext uri="{BB962C8B-B14F-4D97-AF65-F5344CB8AC3E}">
        <p14:creationId xmlns:p14="http://schemas.microsoft.com/office/powerpoint/2010/main" val="3087369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56F617C4-49DD-00C5-5ACE-97077D2F63CB}"/>
              </a:ext>
            </a:extLst>
          </p:cNvPr>
          <p:cNvCxnSpPr>
            <a:cxnSpLocks/>
            <a:stCxn id="79" idx="2"/>
          </p:cNvCxnSpPr>
          <p:nvPr/>
        </p:nvCxnSpPr>
        <p:spPr>
          <a:xfrm flipV="1">
            <a:off x="1061149" y="5167565"/>
            <a:ext cx="3973989" cy="362553"/>
          </a:xfrm>
          <a:prstGeom prst="line">
            <a:avLst/>
          </a:prstGeom>
          <a:ln w="34925">
            <a:solidFill>
              <a:srgbClr val="80AFF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CD3C0F6-29B0-726D-2542-D885FE2440DA}"/>
              </a:ext>
            </a:extLst>
          </p:cNvPr>
          <p:cNvCxnSpPr>
            <a:cxnSpLocks/>
          </p:cNvCxnSpPr>
          <p:nvPr/>
        </p:nvCxnSpPr>
        <p:spPr>
          <a:xfrm flipV="1">
            <a:off x="1153660" y="4362867"/>
            <a:ext cx="1894730" cy="1210358"/>
          </a:xfrm>
          <a:prstGeom prst="line">
            <a:avLst/>
          </a:prstGeom>
          <a:ln w="34925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B74F9A6-29DB-3944-C958-B678C72AADC8}"/>
              </a:ext>
            </a:extLst>
          </p:cNvPr>
          <p:cNvCxnSpPr>
            <a:cxnSpLocks/>
          </p:cNvCxnSpPr>
          <p:nvPr/>
        </p:nvCxnSpPr>
        <p:spPr>
          <a:xfrm flipV="1">
            <a:off x="6976138" y="1822637"/>
            <a:ext cx="1894730" cy="1210358"/>
          </a:xfrm>
          <a:prstGeom prst="line">
            <a:avLst/>
          </a:prstGeom>
          <a:ln w="34925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DE2CE53-7D4C-5542-5953-0432D93D0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476672"/>
            <a:ext cx="11088000" cy="830997"/>
          </a:xfrm>
        </p:spPr>
        <p:txBody>
          <a:bodyPr/>
          <a:lstStyle/>
          <a:p>
            <a:r>
              <a:rPr lang="en-US" dirty="0"/>
              <a:t>Alternative approach (component 1): 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Extrapolation in Temperature </a:t>
            </a:r>
            <a:r>
              <a:rPr lang="en-US" dirty="0"/>
              <a:t>by Arrhenius based modeling</a:t>
            </a:r>
            <a:endParaRPr lang="sl-SI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F99687-2466-C905-7546-B4CB92CE3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ASSS Virtual Europe Discussion Group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CD78C2AA-4298-E53C-014A-08189FD26FE2}"/>
                  </a:ext>
                </a:extLst>
              </p:cNvPr>
              <p:cNvSpPr txBox="1"/>
              <p:nvPr/>
            </p:nvSpPr>
            <p:spPr>
              <a:xfrm>
                <a:off x="7923503" y="3797947"/>
                <a:ext cx="2529154" cy="5380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𝑘</m:t>
                      </m:r>
                      <m:d>
                        <m:d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p>
                        <m:sSupPr>
                          <m:ctrlPr>
                            <a:rPr lang="en-US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𝑝</m:t>
                          </m:r>
                        </m:e>
                        <m:sup>
                          <m:r>
                            <a:rPr lang="en-US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2400" b="0" i="1" smtClean="0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b>
                                  <m:r>
                                    <a:rPr lang="en-US" sz="2400" b="0" i="1" smtClean="0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𝑅</m:t>
                              </m:r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den>
                          </m:f>
                        </m:sup>
                      </m:sSup>
                    </m:oMath>
                  </m:oMathPara>
                </a14:m>
                <a:endParaRPr lang="sl-SI" sz="2400" dirty="0"/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CD78C2AA-4298-E53C-014A-08189FD26F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3503" y="3797947"/>
                <a:ext cx="2529154" cy="538096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6E8F429-B00D-F4B2-2DEF-1F3E3D2E9BC5}"/>
              </a:ext>
            </a:extLst>
          </p:cNvPr>
          <p:cNvCxnSpPr>
            <a:cxnSpLocks/>
          </p:cNvCxnSpPr>
          <p:nvPr/>
        </p:nvCxnSpPr>
        <p:spPr>
          <a:xfrm flipV="1">
            <a:off x="6976139" y="1756649"/>
            <a:ext cx="508884" cy="1288825"/>
          </a:xfrm>
          <a:prstGeom prst="line">
            <a:avLst/>
          </a:prstGeom>
          <a:ln w="34925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43D7881-B4D9-410E-4713-A776985ABF2F}"/>
              </a:ext>
            </a:extLst>
          </p:cNvPr>
          <p:cNvGrpSpPr/>
          <p:nvPr/>
        </p:nvGrpSpPr>
        <p:grpSpPr>
          <a:xfrm>
            <a:off x="6586185" y="1756649"/>
            <a:ext cx="4452154" cy="1924797"/>
            <a:chOff x="1370604" y="2209700"/>
            <a:chExt cx="4424555" cy="3096037"/>
          </a:xfrm>
        </p:grpSpPr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71E06B92-282B-5AE4-21F8-ADBABBD3046D}"/>
                </a:ext>
              </a:extLst>
            </p:cNvPr>
            <p:cNvCxnSpPr>
              <a:cxnSpLocks/>
            </p:cNvCxnSpPr>
            <p:nvPr/>
          </p:nvCxnSpPr>
          <p:spPr>
            <a:xfrm>
              <a:off x="1737756" y="4750129"/>
              <a:ext cx="4057403" cy="0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662002DF-74FF-AFF5-A6A1-2831282FF9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8141" y="2209700"/>
              <a:ext cx="0" cy="2553194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40FFC4A-DEED-4F54-4EBF-0FAC1C4D36B5}"/>
                </a:ext>
              </a:extLst>
            </p:cNvPr>
            <p:cNvSpPr txBox="1"/>
            <p:nvPr/>
          </p:nvSpPr>
          <p:spPr>
            <a:xfrm>
              <a:off x="3499907" y="4997960"/>
              <a:ext cx="573875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Time</a:t>
              </a:r>
              <a:endParaRPr lang="sl-SI" sz="2000" b="1" dirty="0" err="1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CCD5155-9278-69B5-CA5D-D14F14EB16F8}"/>
                </a:ext>
              </a:extLst>
            </p:cNvPr>
            <p:cNvSpPr txBox="1"/>
            <p:nvPr/>
          </p:nvSpPr>
          <p:spPr>
            <a:xfrm rot="16200000">
              <a:off x="1337101" y="3321622"/>
              <a:ext cx="374783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QA</a:t>
              </a:r>
              <a:endParaRPr lang="sl-SI" sz="2000" b="1" dirty="0" err="1"/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3512A67C-F2BB-230A-18B7-DA1841735434}"/>
              </a:ext>
            </a:extLst>
          </p:cNvPr>
          <p:cNvSpPr/>
          <p:nvPr/>
        </p:nvSpPr>
        <p:spPr>
          <a:xfrm>
            <a:off x="7255828" y="1858028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50E5AE77-7A64-6DB5-8D47-8C2086A6A6BF}"/>
              </a:ext>
            </a:extLst>
          </p:cNvPr>
          <p:cNvSpPr/>
          <p:nvPr/>
        </p:nvSpPr>
        <p:spPr>
          <a:xfrm>
            <a:off x="6883627" y="2917888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BB6B9909-82E3-3156-97D2-C06FAF88F251}"/>
              </a:ext>
            </a:extLst>
          </p:cNvPr>
          <p:cNvSpPr/>
          <p:nvPr/>
        </p:nvSpPr>
        <p:spPr>
          <a:xfrm>
            <a:off x="7174891" y="2399599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79E6717-1F4D-0B9E-2B83-3AE6AD57161A}"/>
              </a:ext>
            </a:extLst>
          </p:cNvPr>
          <p:cNvSpPr txBox="1"/>
          <p:nvPr/>
        </p:nvSpPr>
        <p:spPr>
          <a:xfrm>
            <a:off x="7230581" y="1468354"/>
            <a:ext cx="54822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>
                <a:solidFill>
                  <a:srgbClr val="FF0000"/>
                </a:solidFill>
              </a:rPr>
              <a:t>40 °C</a:t>
            </a:r>
            <a:endParaRPr lang="sl-SI" dirty="0" err="1">
              <a:solidFill>
                <a:srgbClr val="FF0000"/>
              </a:solidFill>
            </a:endParaRPr>
          </a:p>
        </p:txBody>
      </p:sp>
      <p:graphicFrame>
        <p:nvGraphicFramePr>
          <p:cNvPr id="54" name="Table 53">
            <a:extLst>
              <a:ext uri="{FF2B5EF4-FFF2-40B4-BE49-F238E27FC236}">
                <a16:creationId xmlns:a16="http://schemas.microsoft.com/office/drawing/2014/main" id="{50453955-FB4A-A02B-6AB1-1370B73C69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5306683"/>
              </p:ext>
            </p:extLst>
          </p:nvPr>
        </p:nvGraphicFramePr>
        <p:xfrm>
          <a:off x="7073827" y="4545778"/>
          <a:ext cx="4012180" cy="17713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6090">
                  <a:extLst>
                    <a:ext uri="{9D8B030D-6E8A-4147-A177-3AD203B41FA5}">
                      <a16:colId xmlns:a16="http://schemas.microsoft.com/office/drawing/2014/main" val="185665490"/>
                    </a:ext>
                  </a:extLst>
                </a:gridCol>
                <a:gridCol w="2006090">
                  <a:extLst>
                    <a:ext uri="{9D8B030D-6E8A-4147-A177-3AD203B41FA5}">
                      <a16:colId xmlns:a16="http://schemas.microsoft.com/office/drawing/2014/main" val="1517448644"/>
                    </a:ext>
                  </a:extLst>
                </a:gridCol>
              </a:tblGrid>
              <a:tr h="606411">
                <a:tc>
                  <a:txBody>
                    <a:bodyPr/>
                    <a:lstStyle/>
                    <a:p>
                      <a:r>
                        <a:rPr lang="en-US" sz="1600" dirty="0"/>
                        <a:t>Extrapolation in Temperature</a:t>
                      </a:r>
                      <a:endParaRPr lang="sl-SI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ime Factor for </a:t>
                      </a:r>
                      <a:r>
                        <a:rPr lang="en-US" sz="1600" dirty="0" err="1"/>
                        <a:t>Ea</a:t>
                      </a:r>
                      <a:r>
                        <a:rPr lang="en-US" sz="1600" dirty="0"/>
                        <a:t>=20 kcal/mol</a:t>
                      </a:r>
                      <a:endParaRPr lang="sl-SI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9880117"/>
                  </a:ext>
                </a:extLst>
              </a:tr>
              <a:tr h="388315">
                <a:tc>
                  <a:txBody>
                    <a:bodyPr/>
                    <a:lstStyle/>
                    <a:p>
                      <a:r>
                        <a:rPr lang="en-US" sz="1600" dirty="0"/>
                        <a:t>40°C -&gt; 25 °C</a:t>
                      </a:r>
                      <a:endParaRPr lang="sl-SI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</a:t>
                      </a:r>
                      <a:endParaRPr lang="sl-SI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4637135"/>
                  </a:ext>
                </a:extLst>
              </a:tr>
              <a:tr h="388315">
                <a:tc>
                  <a:txBody>
                    <a:bodyPr/>
                    <a:lstStyle/>
                    <a:p>
                      <a:r>
                        <a:rPr lang="en-US" sz="1600" dirty="0"/>
                        <a:t>40 ˘C -&gt; 5 °C</a:t>
                      </a:r>
                      <a:endParaRPr lang="sl-SI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7</a:t>
                      </a:r>
                      <a:endParaRPr lang="sl-SI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9230500"/>
                  </a:ext>
                </a:extLst>
              </a:tr>
              <a:tr h="388315">
                <a:tc>
                  <a:txBody>
                    <a:bodyPr/>
                    <a:lstStyle/>
                    <a:p>
                      <a:r>
                        <a:rPr lang="en-US" sz="1600" dirty="0"/>
                        <a:t>25°C -&gt; 5 °C</a:t>
                      </a:r>
                      <a:endParaRPr lang="sl-SI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1</a:t>
                      </a:r>
                      <a:endParaRPr lang="sl-SI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871185"/>
                  </a:ext>
                </a:extLst>
              </a:tr>
            </a:tbl>
          </a:graphicData>
        </a:graphic>
      </p:graphicFrame>
      <p:sp>
        <p:nvSpPr>
          <p:cNvPr id="55" name="TextBox 54">
            <a:extLst>
              <a:ext uri="{FF2B5EF4-FFF2-40B4-BE49-F238E27FC236}">
                <a16:creationId xmlns:a16="http://schemas.microsoft.com/office/drawing/2014/main" id="{86AC4708-BC8B-D825-D681-7200FA478AF7}"/>
              </a:ext>
            </a:extLst>
          </p:cNvPr>
          <p:cNvSpPr txBox="1"/>
          <p:nvPr/>
        </p:nvSpPr>
        <p:spPr>
          <a:xfrm>
            <a:off x="8605571" y="1506996"/>
            <a:ext cx="53059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>
                <a:solidFill>
                  <a:srgbClr val="92D050"/>
                </a:solidFill>
              </a:rPr>
              <a:t>25 °C</a:t>
            </a:r>
            <a:endParaRPr lang="sl-SI" dirty="0" err="1">
              <a:solidFill>
                <a:srgbClr val="92D050"/>
              </a:solidFill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2BBCA9C-AF48-8B2A-C5FE-C8A94FA40BE4}"/>
              </a:ext>
            </a:extLst>
          </p:cNvPr>
          <p:cNvCxnSpPr>
            <a:cxnSpLocks/>
          </p:cNvCxnSpPr>
          <p:nvPr/>
        </p:nvCxnSpPr>
        <p:spPr>
          <a:xfrm flipV="1">
            <a:off x="6980878" y="2690045"/>
            <a:ext cx="3557582" cy="2263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1E1A944-691F-C878-9704-BCD79ACC3A49}"/>
              </a:ext>
            </a:extLst>
          </p:cNvPr>
          <p:cNvCxnSpPr>
            <a:cxnSpLocks/>
          </p:cNvCxnSpPr>
          <p:nvPr/>
        </p:nvCxnSpPr>
        <p:spPr>
          <a:xfrm>
            <a:off x="7126695" y="1985488"/>
            <a:ext cx="614" cy="138629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893ADE8-BD61-E8E7-484A-FD05A2ADCCA4}"/>
              </a:ext>
            </a:extLst>
          </p:cNvPr>
          <p:cNvCxnSpPr>
            <a:cxnSpLocks/>
          </p:cNvCxnSpPr>
          <p:nvPr/>
        </p:nvCxnSpPr>
        <p:spPr>
          <a:xfrm>
            <a:off x="7452225" y="1970462"/>
            <a:ext cx="12279" cy="1351716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E22E09F3-B694-F88F-A139-D4193CF6FD3F}"/>
              </a:ext>
            </a:extLst>
          </p:cNvPr>
          <p:cNvSpPr txBox="1"/>
          <p:nvPr/>
        </p:nvSpPr>
        <p:spPr>
          <a:xfrm>
            <a:off x="7091429" y="3361586"/>
            <a:ext cx="705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/>
              <a:t>t</a:t>
            </a:r>
            <a:endParaRPr lang="sl-SI" dirty="0" err="1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AF83778-472C-DACF-AD0D-5F1F9D177D17}"/>
              </a:ext>
            </a:extLst>
          </p:cNvPr>
          <p:cNvSpPr txBox="1"/>
          <p:nvPr/>
        </p:nvSpPr>
        <p:spPr>
          <a:xfrm>
            <a:off x="7365136" y="3371783"/>
            <a:ext cx="27911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/>
              <a:t>5*t</a:t>
            </a:r>
            <a:endParaRPr lang="sl-SI" dirty="0" err="1"/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D62B222-7ACD-FAF8-047B-3263BC27BD25}"/>
              </a:ext>
            </a:extLst>
          </p:cNvPr>
          <p:cNvCxnSpPr>
            <a:cxnSpLocks/>
          </p:cNvCxnSpPr>
          <p:nvPr/>
        </p:nvCxnSpPr>
        <p:spPr>
          <a:xfrm flipV="1">
            <a:off x="1153661" y="4296879"/>
            <a:ext cx="508884" cy="1288825"/>
          </a:xfrm>
          <a:prstGeom prst="line">
            <a:avLst/>
          </a:prstGeom>
          <a:ln w="34925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6B87F94-33C2-94E3-A7CE-3D6C67E63142}"/>
              </a:ext>
            </a:extLst>
          </p:cNvPr>
          <p:cNvGrpSpPr/>
          <p:nvPr/>
        </p:nvGrpSpPr>
        <p:grpSpPr>
          <a:xfrm>
            <a:off x="763707" y="4296879"/>
            <a:ext cx="4452154" cy="1924797"/>
            <a:chOff x="1370604" y="2209700"/>
            <a:chExt cx="4424555" cy="3096037"/>
          </a:xfrm>
        </p:grpSpPr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06031D7A-7EE7-513F-6355-D1BF16D0F433}"/>
                </a:ext>
              </a:extLst>
            </p:cNvPr>
            <p:cNvCxnSpPr>
              <a:cxnSpLocks/>
            </p:cNvCxnSpPr>
            <p:nvPr/>
          </p:nvCxnSpPr>
          <p:spPr>
            <a:xfrm>
              <a:off x="1737756" y="4750129"/>
              <a:ext cx="4057403" cy="0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CB120A3A-BAB5-C3B6-17B3-A44B20F04B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8141" y="2209700"/>
              <a:ext cx="0" cy="2553194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9A041FA-F396-1BB5-F16F-53C16EA19362}"/>
                </a:ext>
              </a:extLst>
            </p:cNvPr>
            <p:cNvSpPr txBox="1"/>
            <p:nvPr/>
          </p:nvSpPr>
          <p:spPr>
            <a:xfrm>
              <a:off x="3499907" y="4997960"/>
              <a:ext cx="573875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Time</a:t>
              </a:r>
              <a:endParaRPr lang="sl-SI" sz="2000" b="1" dirty="0" err="1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CE55A8A-B9CB-3A2D-AF3B-29078BDFB10A}"/>
                </a:ext>
              </a:extLst>
            </p:cNvPr>
            <p:cNvSpPr txBox="1"/>
            <p:nvPr/>
          </p:nvSpPr>
          <p:spPr>
            <a:xfrm rot="16200000">
              <a:off x="1337101" y="3321622"/>
              <a:ext cx="374783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QA</a:t>
              </a:r>
              <a:endParaRPr lang="sl-SI" sz="2000" b="1" dirty="0" err="1"/>
            </a:p>
          </p:txBody>
        </p:sp>
      </p:grpSp>
      <p:sp>
        <p:nvSpPr>
          <p:cNvPr id="78" name="Oval 77">
            <a:extLst>
              <a:ext uri="{FF2B5EF4-FFF2-40B4-BE49-F238E27FC236}">
                <a16:creationId xmlns:a16="http://schemas.microsoft.com/office/drawing/2014/main" id="{D5EC5315-61F3-2C66-C781-6E59BD53AA91}"/>
              </a:ext>
            </a:extLst>
          </p:cNvPr>
          <p:cNvSpPr/>
          <p:nvPr/>
        </p:nvSpPr>
        <p:spPr>
          <a:xfrm>
            <a:off x="1433350" y="4398258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398662C-D933-EDC5-293B-0652C60BB643}"/>
              </a:ext>
            </a:extLst>
          </p:cNvPr>
          <p:cNvSpPr/>
          <p:nvPr/>
        </p:nvSpPr>
        <p:spPr>
          <a:xfrm>
            <a:off x="1061149" y="5458118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8A16B8C9-B0C0-B054-71B9-F945A7C35A1D}"/>
              </a:ext>
            </a:extLst>
          </p:cNvPr>
          <p:cNvSpPr/>
          <p:nvPr/>
        </p:nvSpPr>
        <p:spPr>
          <a:xfrm>
            <a:off x="1352413" y="4939829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D4A66F4-8313-99E3-79D1-E8A87CE6A720}"/>
              </a:ext>
            </a:extLst>
          </p:cNvPr>
          <p:cNvSpPr txBox="1"/>
          <p:nvPr/>
        </p:nvSpPr>
        <p:spPr>
          <a:xfrm>
            <a:off x="1408103" y="4008584"/>
            <a:ext cx="54822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>
                <a:solidFill>
                  <a:srgbClr val="FF0000"/>
                </a:solidFill>
              </a:rPr>
              <a:t>40 °C</a:t>
            </a:r>
            <a:endParaRPr lang="sl-SI" dirty="0" err="1">
              <a:solidFill>
                <a:srgbClr val="FF0000"/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C1AAC50-70CE-0DAD-2780-634730A0C2B7}"/>
              </a:ext>
            </a:extLst>
          </p:cNvPr>
          <p:cNvSpPr txBox="1"/>
          <p:nvPr/>
        </p:nvSpPr>
        <p:spPr>
          <a:xfrm>
            <a:off x="2783093" y="4047226"/>
            <a:ext cx="53059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>
                <a:solidFill>
                  <a:srgbClr val="92D050"/>
                </a:solidFill>
              </a:rPr>
              <a:t>25 °C</a:t>
            </a:r>
            <a:endParaRPr lang="sl-SI" dirty="0" err="1">
              <a:solidFill>
                <a:srgbClr val="92D050"/>
              </a:solidFill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75F62EA1-C84F-8EE6-4CDB-E1F3009BFAAA}"/>
              </a:ext>
            </a:extLst>
          </p:cNvPr>
          <p:cNvCxnSpPr>
            <a:cxnSpLocks/>
          </p:cNvCxnSpPr>
          <p:nvPr/>
        </p:nvCxnSpPr>
        <p:spPr>
          <a:xfrm>
            <a:off x="1158400" y="5232538"/>
            <a:ext cx="3683089" cy="5962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4999665-BD8C-E9F6-D396-10C9DB6CC8A6}"/>
              </a:ext>
            </a:extLst>
          </p:cNvPr>
          <p:cNvCxnSpPr>
            <a:cxnSpLocks/>
          </p:cNvCxnSpPr>
          <p:nvPr/>
        </p:nvCxnSpPr>
        <p:spPr>
          <a:xfrm>
            <a:off x="1304217" y="4525718"/>
            <a:ext cx="614" cy="138629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8F3A083-D8B2-3DFD-68C7-96241814DFC6}"/>
              </a:ext>
            </a:extLst>
          </p:cNvPr>
          <p:cNvCxnSpPr>
            <a:cxnSpLocks/>
          </p:cNvCxnSpPr>
          <p:nvPr/>
        </p:nvCxnSpPr>
        <p:spPr>
          <a:xfrm>
            <a:off x="1629747" y="4510692"/>
            <a:ext cx="12279" cy="1351716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E5208712-46E2-7B42-E482-F88A72AE6D66}"/>
              </a:ext>
            </a:extLst>
          </p:cNvPr>
          <p:cNvSpPr txBox="1"/>
          <p:nvPr/>
        </p:nvSpPr>
        <p:spPr>
          <a:xfrm>
            <a:off x="1268951" y="5901816"/>
            <a:ext cx="705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/>
              <a:t>t</a:t>
            </a:r>
            <a:endParaRPr lang="sl-SI" dirty="0" err="1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FC59894-365A-4553-1664-C80D8A0B0FC4}"/>
              </a:ext>
            </a:extLst>
          </p:cNvPr>
          <p:cNvSpPr txBox="1"/>
          <p:nvPr/>
        </p:nvSpPr>
        <p:spPr>
          <a:xfrm>
            <a:off x="1542658" y="5912013"/>
            <a:ext cx="27911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/>
              <a:t>5*t</a:t>
            </a:r>
            <a:endParaRPr lang="sl-SI" dirty="0" err="1"/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3270639C-E21E-870E-56C9-8E8C72886104}"/>
              </a:ext>
            </a:extLst>
          </p:cNvPr>
          <p:cNvCxnSpPr>
            <a:cxnSpLocks/>
          </p:cNvCxnSpPr>
          <p:nvPr/>
        </p:nvCxnSpPr>
        <p:spPr>
          <a:xfrm>
            <a:off x="4243009" y="4510692"/>
            <a:ext cx="12279" cy="1351716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E4593B05-D8FF-20C5-FE8E-6641D036C6B2}"/>
              </a:ext>
            </a:extLst>
          </p:cNvPr>
          <p:cNvSpPr txBox="1"/>
          <p:nvPr/>
        </p:nvSpPr>
        <p:spPr>
          <a:xfrm>
            <a:off x="4054111" y="5909992"/>
            <a:ext cx="40235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/>
              <a:t>57*t</a:t>
            </a:r>
            <a:endParaRPr lang="sl-SI" dirty="0" err="1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8D1A43B-DFC3-AA9C-16E4-5D8101EE85CA}"/>
              </a:ext>
            </a:extLst>
          </p:cNvPr>
          <p:cNvSpPr txBox="1"/>
          <p:nvPr/>
        </p:nvSpPr>
        <p:spPr>
          <a:xfrm>
            <a:off x="4601551" y="4710199"/>
            <a:ext cx="40235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>
                <a:solidFill>
                  <a:srgbClr val="80AFF9"/>
                </a:solidFill>
              </a:rPr>
              <a:t>5 °C</a:t>
            </a:r>
            <a:endParaRPr lang="sl-SI" dirty="0" err="1">
              <a:solidFill>
                <a:srgbClr val="80AFF9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3D2E6DD-C0FB-283E-E2BA-D826AB3A8B83}"/>
              </a:ext>
            </a:extLst>
          </p:cNvPr>
          <p:cNvCxnSpPr>
            <a:cxnSpLocks/>
          </p:cNvCxnSpPr>
          <p:nvPr/>
        </p:nvCxnSpPr>
        <p:spPr>
          <a:xfrm flipV="1">
            <a:off x="1121811" y="1760902"/>
            <a:ext cx="508884" cy="1288825"/>
          </a:xfrm>
          <a:prstGeom prst="line">
            <a:avLst/>
          </a:prstGeom>
          <a:ln w="34925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4D9AA4FD-31DF-521D-B021-99447C691412}"/>
              </a:ext>
            </a:extLst>
          </p:cNvPr>
          <p:cNvGrpSpPr/>
          <p:nvPr/>
        </p:nvGrpSpPr>
        <p:grpSpPr>
          <a:xfrm>
            <a:off x="731857" y="1760902"/>
            <a:ext cx="4452154" cy="1924797"/>
            <a:chOff x="1370604" y="2209700"/>
            <a:chExt cx="4424555" cy="3096037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29276FE3-7BC5-2FBB-4044-872EDD285386}"/>
                </a:ext>
              </a:extLst>
            </p:cNvPr>
            <p:cNvCxnSpPr>
              <a:cxnSpLocks/>
            </p:cNvCxnSpPr>
            <p:nvPr/>
          </p:nvCxnSpPr>
          <p:spPr>
            <a:xfrm>
              <a:off x="1737756" y="4750129"/>
              <a:ext cx="4057403" cy="0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F9B333B7-9236-B6C1-C8A3-4AE8D9C449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8141" y="2209700"/>
              <a:ext cx="0" cy="2553194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BFC77C4-3925-8F7F-425C-27A3184C1856}"/>
                </a:ext>
              </a:extLst>
            </p:cNvPr>
            <p:cNvSpPr txBox="1"/>
            <p:nvPr/>
          </p:nvSpPr>
          <p:spPr>
            <a:xfrm>
              <a:off x="3499907" y="4997960"/>
              <a:ext cx="573875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Time</a:t>
              </a:r>
              <a:endParaRPr lang="sl-SI" sz="2000" b="1" dirty="0" err="1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DCED1A8-8184-ECE9-BB04-B92518278AC9}"/>
                </a:ext>
              </a:extLst>
            </p:cNvPr>
            <p:cNvSpPr txBox="1"/>
            <p:nvPr/>
          </p:nvSpPr>
          <p:spPr>
            <a:xfrm rot="16200000">
              <a:off x="1337101" y="3321622"/>
              <a:ext cx="374783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QA</a:t>
              </a:r>
              <a:endParaRPr lang="sl-SI" sz="2000" b="1" dirty="0" err="1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9ACB9258-49FE-9ADF-B548-EB27BA5204D0}"/>
              </a:ext>
            </a:extLst>
          </p:cNvPr>
          <p:cNvSpPr/>
          <p:nvPr/>
        </p:nvSpPr>
        <p:spPr>
          <a:xfrm>
            <a:off x="1401500" y="1862281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9983274-3911-53BC-9CDB-EAFB22FE2CEB}"/>
              </a:ext>
            </a:extLst>
          </p:cNvPr>
          <p:cNvSpPr/>
          <p:nvPr/>
        </p:nvSpPr>
        <p:spPr>
          <a:xfrm>
            <a:off x="1029299" y="2922141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ECE3916-8E1C-D551-62A5-1C66F1095B72}"/>
              </a:ext>
            </a:extLst>
          </p:cNvPr>
          <p:cNvSpPr/>
          <p:nvPr/>
        </p:nvSpPr>
        <p:spPr>
          <a:xfrm>
            <a:off x="1320563" y="2403852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sl-SI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675B12-EE00-5898-A83C-5E550C278258}"/>
              </a:ext>
            </a:extLst>
          </p:cNvPr>
          <p:cNvSpPr txBox="1"/>
          <p:nvPr/>
        </p:nvSpPr>
        <p:spPr>
          <a:xfrm>
            <a:off x="1376253" y="1472607"/>
            <a:ext cx="54822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>
                <a:solidFill>
                  <a:srgbClr val="FF0000"/>
                </a:solidFill>
              </a:rPr>
              <a:t>40 °C</a:t>
            </a:r>
            <a:endParaRPr lang="sl-SI" dirty="0" err="1">
              <a:solidFill>
                <a:srgbClr val="FF000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04907FA-3C19-0E4F-D192-CCB279E13A9E}"/>
              </a:ext>
            </a:extLst>
          </p:cNvPr>
          <p:cNvCxnSpPr>
            <a:cxnSpLocks/>
          </p:cNvCxnSpPr>
          <p:nvPr/>
        </p:nvCxnSpPr>
        <p:spPr>
          <a:xfrm>
            <a:off x="1126550" y="2696561"/>
            <a:ext cx="3475001" cy="286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1D4212-8E9C-23EF-C880-090726D84DB0}"/>
              </a:ext>
            </a:extLst>
          </p:cNvPr>
          <p:cNvCxnSpPr>
            <a:cxnSpLocks/>
          </p:cNvCxnSpPr>
          <p:nvPr/>
        </p:nvCxnSpPr>
        <p:spPr>
          <a:xfrm>
            <a:off x="1272367" y="1989741"/>
            <a:ext cx="614" cy="138629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0ECED14-B4C2-49F9-3AF6-0B232CA244EA}"/>
              </a:ext>
            </a:extLst>
          </p:cNvPr>
          <p:cNvSpPr txBox="1"/>
          <p:nvPr/>
        </p:nvSpPr>
        <p:spPr>
          <a:xfrm>
            <a:off x="1237101" y="3365839"/>
            <a:ext cx="705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/>
              <a:t>t</a:t>
            </a:r>
            <a:endParaRPr lang="sl-SI" dirty="0" err="1"/>
          </a:p>
        </p:txBody>
      </p:sp>
    </p:spTree>
    <p:extLst>
      <p:ext uri="{BB962C8B-B14F-4D97-AF65-F5344CB8AC3E}">
        <p14:creationId xmlns:p14="http://schemas.microsoft.com/office/powerpoint/2010/main" val="19938781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B01830-91A0-A292-65E5-4D20EBE2DA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0A2CC-4D97-71AB-7270-0757E500D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476672"/>
            <a:ext cx="11088000" cy="830997"/>
          </a:xfrm>
        </p:spPr>
        <p:txBody>
          <a:bodyPr/>
          <a:lstStyle/>
          <a:p>
            <a:r>
              <a:rPr lang="en-US" dirty="0"/>
              <a:t>Alternative approach (component 2): 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Kinetic model </a:t>
            </a:r>
            <a:r>
              <a:rPr lang="en-US" dirty="0"/>
              <a:t>of degradation profile</a:t>
            </a:r>
            <a:endParaRPr lang="sl-SI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7ADF35-A3C2-4880-98A3-E7B244DD6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ASSS Virtual Europe Discussion Group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6CF503A-6BC8-1E42-156B-35CD3861CF1B}"/>
              </a:ext>
            </a:extLst>
          </p:cNvPr>
          <p:cNvCxnSpPr>
            <a:cxnSpLocks/>
          </p:cNvCxnSpPr>
          <p:nvPr/>
        </p:nvCxnSpPr>
        <p:spPr>
          <a:xfrm>
            <a:off x="1223158" y="2268187"/>
            <a:ext cx="1377538" cy="464607"/>
          </a:xfrm>
          <a:prstGeom prst="line">
            <a:avLst/>
          </a:prstGeom>
          <a:ln w="34925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13ADF396-ED01-08E0-65E6-CF607750E383}"/>
              </a:ext>
            </a:extLst>
          </p:cNvPr>
          <p:cNvGrpSpPr/>
          <p:nvPr/>
        </p:nvGrpSpPr>
        <p:grpSpPr>
          <a:xfrm>
            <a:off x="551384" y="1822637"/>
            <a:ext cx="2334320" cy="2064192"/>
            <a:chOff x="979076" y="2209700"/>
            <a:chExt cx="4816083" cy="3320253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2C68179F-43DC-0A12-6020-6D9DCA32F420}"/>
                </a:ext>
              </a:extLst>
            </p:cNvPr>
            <p:cNvCxnSpPr>
              <a:cxnSpLocks/>
            </p:cNvCxnSpPr>
            <p:nvPr/>
          </p:nvCxnSpPr>
          <p:spPr>
            <a:xfrm>
              <a:off x="1737756" y="4750129"/>
              <a:ext cx="4057403" cy="0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E3DB9E02-4D62-F651-7173-762384F44E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8141" y="2209700"/>
              <a:ext cx="0" cy="2553194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D6B7D76-773B-CF27-4806-13F48DE12C68}"/>
                </a:ext>
              </a:extLst>
            </p:cNvPr>
            <p:cNvSpPr txBox="1"/>
            <p:nvPr/>
          </p:nvSpPr>
          <p:spPr>
            <a:xfrm>
              <a:off x="2928573" y="5034894"/>
              <a:ext cx="1641550" cy="4950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Time</a:t>
              </a:r>
              <a:endParaRPr lang="sl-SI" sz="2000" b="1" dirty="0" err="1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9E0D966-7719-A382-CF59-020069182CC6}"/>
                </a:ext>
              </a:extLst>
            </p:cNvPr>
            <p:cNvSpPr txBox="1"/>
            <p:nvPr/>
          </p:nvSpPr>
          <p:spPr>
            <a:xfrm rot="16200000">
              <a:off x="945573" y="3519799"/>
              <a:ext cx="374784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QA</a:t>
              </a:r>
              <a:endParaRPr lang="sl-SI" sz="2000" b="1" dirty="0" err="1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B0C3CE50-CEEE-AC8F-9AB4-80FAA4478CA4}"/>
              </a:ext>
            </a:extLst>
          </p:cNvPr>
          <p:cNvSpPr txBox="1"/>
          <p:nvPr/>
        </p:nvSpPr>
        <p:spPr>
          <a:xfrm>
            <a:off x="928991" y="5504297"/>
            <a:ext cx="24854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/>
              <a:t>Zero order (linear)  model</a:t>
            </a:r>
            <a:endParaRPr lang="sl-SI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ZoneTexte 12">
                <a:extLst>
                  <a:ext uri="{FF2B5EF4-FFF2-40B4-BE49-F238E27FC236}">
                    <a16:creationId xmlns:a16="http://schemas.microsoft.com/office/drawing/2014/main" id="{B1B51D7A-00CA-BCF6-B5A6-5D82C40283C5}"/>
                  </a:ext>
                </a:extLst>
              </p:cNvPr>
              <p:cNvSpPr txBox="1"/>
              <p:nvPr/>
            </p:nvSpPr>
            <p:spPr>
              <a:xfrm>
                <a:off x="1403043" y="4683748"/>
                <a:ext cx="1319037" cy="595291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467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</m:t>
                          </m:r>
                          <m:r>
                            <a:rPr lang="en-US" sz="1467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𝑸𝑨</m:t>
                          </m:r>
                        </m:num>
                        <m:den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𝒕</m:t>
                          </m:r>
                        </m:den>
                      </m:f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467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a:rPr lang="en-US" sz="1467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𝒌</m:t>
                      </m:r>
                      <m:r>
                        <a:rPr lang="en-US" sz="1467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a:rPr lang="en-US" sz="1467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𝑻</m:t>
                      </m:r>
                      <m:r>
                        <a:rPr lang="en-US" sz="1467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) </m:t>
                      </m:r>
                    </m:oMath>
                  </m:oMathPara>
                </a14:m>
                <a:endParaRPr lang="en-US" sz="1467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21" name="ZoneTexte 12">
                <a:extLst>
                  <a:ext uri="{FF2B5EF4-FFF2-40B4-BE49-F238E27FC236}">
                    <a16:creationId xmlns:a16="http://schemas.microsoft.com/office/drawing/2014/main" id="{B1B51D7A-00CA-BCF6-B5A6-5D82C40283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3043" y="4683748"/>
                <a:ext cx="1319037" cy="59529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oup 23">
            <a:extLst>
              <a:ext uri="{FF2B5EF4-FFF2-40B4-BE49-F238E27FC236}">
                <a16:creationId xmlns:a16="http://schemas.microsoft.com/office/drawing/2014/main" id="{6F41F044-D06C-A315-57AD-113E80BF8F65}"/>
              </a:ext>
            </a:extLst>
          </p:cNvPr>
          <p:cNvGrpSpPr/>
          <p:nvPr/>
        </p:nvGrpSpPr>
        <p:grpSpPr>
          <a:xfrm>
            <a:off x="3749805" y="1822637"/>
            <a:ext cx="2334320" cy="2064192"/>
            <a:chOff x="979076" y="2209700"/>
            <a:chExt cx="4816083" cy="3320253"/>
          </a:xfrm>
        </p:grpSpPr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47D2A76F-EAE2-9764-C454-77DEE8A9093C}"/>
                </a:ext>
              </a:extLst>
            </p:cNvPr>
            <p:cNvCxnSpPr>
              <a:cxnSpLocks/>
            </p:cNvCxnSpPr>
            <p:nvPr/>
          </p:nvCxnSpPr>
          <p:spPr>
            <a:xfrm>
              <a:off x="1737756" y="4750129"/>
              <a:ext cx="4057403" cy="0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0C6AE664-6DB0-3D89-12A6-0383F66EFE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8141" y="2209700"/>
              <a:ext cx="0" cy="2553194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4BAB147-AFB2-83E9-B90E-F4280FD5797C}"/>
                </a:ext>
              </a:extLst>
            </p:cNvPr>
            <p:cNvSpPr txBox="1"/>
            <p:nvPr/>
          </p:nvSpPr>
          <p:spPr>
            <a:xfrm>
              <a:off x="2928573" y="5034894"/>
              <a:ext cx="1641550" cy="4950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Time</a:t>
              </a:r>
              <a:endParaRPr lang="sl-SI" sz="2000" b="1" dirty="0" err="1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51C8D8A-D2D9-7199-2C1A-E243382EFD63}"/>
                </a:ext>
              </a:extLst>
            </p:cNvPr>
            <p:cNvSpPr txBox="1"/>
            <p:nvPr/>
          </p:nvSpPr>
          <p:spPr>
            <a:xfrm rot="16200000">
              <a:off x="945573" y="3519799"/>
              <a:ext cx="374784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QA</a:t>
              </a:r>
              <a:endParaRPr lang="sl-SI" sz="2000" b="1" dirty="0" err="1"/>
            </a:p>
          </p:txBody>
        </p:sp>
      </p:grpSp>
      <p:sp>
        <p:nvSpPr>
          <p:cNvPr id="30" name="Arc 29">
            <a:extLst>
              <a:ext uri="{FF2B5EF4-FFF2-40B4-BE49-F238E27FC236}">
                <a16:creationId xmlns:a16="http://schemas.microsoft.com/office/drawing/2014/main" id="{3A3A37BC-F50B-6FD8-E727-EAD96ACDBC93}"/>
              </a:ext>
            </a:extLst>
          </p:cNvPr>
          <p:cNvSpPr/>
          <p:nvPr/>
        </p:nvSpPr>
        <p:spPr>
          <a:xfrm flipH="1" flipV="1">
            <a:off x="4307797" y="898596"/>
            <a:ext cx="4823998" cy="2353047"/>
          </a:xfrm>
          <a:prstGeom prst="arc">
            <a:avLst>
              <a:gd name="adj1" fmla="val 19356003"/>
              <a:gd name="adj2" fmla="val 21191745"/>
            </a:avLst>
          </a:prstGeom>
          <a:ln w="34925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CFC8CB-EC89-EC66-8AB7-C8440B8E42C1}"/>
              </a:ext>
            </a:extLst>
          </p:cNvPr>
          <p:cNvSpPr txBox="1"/>
          <p:nvPr/>
        </p:nvSpPr>
        <p:spPr>
          <a:xfrm>
            <a:off x="3820129" y="5496362"/>
            <a:ext cx="302037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dirty="0"/>
              <a:t>First order (exponential) model</a:t>
            </a:r>
            <a:endParaRPr lang="sl-SI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ZoneTexte 12">
                <a:extLst>
                  <a:ext uri="{FF2B5EF4-FFF2-40B4-BE49-F238E27FC236}">
                    <a16:creationId xmlns:a16="http://schemas.microsoft.com/office/drawing/2014/main" id="{44AD4173-E6C1-230D-E472-0A5EE1E749FB}"/>
                  </a:ext>
                </a:extLst>
              </p:cNvPr>
              <p:cNvSpPr txBox="1"/>
              <p:nvPr/>
            </p:nvSpPr>
            <p:spPr>
              <a:xfrm>
                <a:off x="4311756" y="4676743"/>
                <a:ext cx="1966593" cy="595291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467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</m:t>
                          </m:r>
                          <m:r>
                            <a:rPr lang="en-US" sz="1467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𝑸𝑨</m:t>
                          </m:r>
                        </m:num>
                        <m:den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𝒕</m:t>
                          </m:r>
                        </m:den>
                      </m:f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467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a:rPr lang="en-US" sz="1467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𝒌</m:t>
                      </m:r>
                      <m:d>
                        <m:dPr>
                          <m:ctrlP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𝑻</m:t>
                          </m:r>
                        </m:e>
                      </m:d>
                      <m:r>
                        <a:rPr lang="en-US" sz="1467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×</m:t>
                      </m:r>
                      <m:r>
                        <a:rPr lang="en-US" sz="1467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𝑸𝑨</m:t>
                      </m:r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sz="1467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47" name="ZoneTexte 12">
                <a:extLst>
                  <a:ext uri="{FF2B5EF4-FFF2-40B4-BE49-F238E27FC236}">
                    <a16:creationId xmlns:a16="http://schemas.microsoft.com/office/drawing/2014/main" id="{44AD4173-E6C1-230D-E472-0A5EE1E749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1756" y="4676743"/>
                <a:ext cx="1966593" cy="59529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ZoneTexte 12">
                <a:extLst>
                  <a:ext uri="{FF2B5EF4-FFF2-40B4-BE49-F238E27FC236}">
                    <a16:creationId xmlns:a16="http://schemas.microsoft.com/office/drawing/2014/main" id="{82EAAEF7-8567-C311-EDEB-B1BC94E21A28}"/>
                  </a:ext>
                </a:extLst>
              </p:cNvPr>
              <p:cNvSpPr txBox="1"/>
              <p:nvPr/>
            </p:nvSpPr>
            <p:spPr>
              <a:xfrm>
                <a:off x="7492454" y="4347224"/>
                <a:ext cx="4554326" cy="1003736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467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MS Mincho" panose="02020609040205080304" pitchFamily="49" charset="-128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</m:t>
                          </m:r>
                          <m:r>
                            <a:rPr lang="en-US" sz="1467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𝑸𝑨</m:t>
                          </m:r>
                        </m:num>
                        <m:den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𝒅𝒕</m:t>
                          </m:r>
                        </m:den>
                      </m:f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467" b="1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𝒗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b>
                        <m:sSubPr>
                          <m:ctrlP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𝒌</m:t>
                          </m:r>
                        </m:e>
                        <m:sub>
                          <m:r>
                            <a:rPr lang="en-US" sz="1467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b>
                      </m:sSub>
                      <m:d>
                        <m:dPr>
                          <m:ctrlP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</m:ctrlPr>
                        </m:dPr>
                        <m:e>
                          <m: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𝑻</m:t>
                          </m:r>
                        </m:e>
                      </m:d>
                      <m:r>
                        <a:rPr lang="en-US" sz="1467" b="1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−</m:t>
                                  </m:r>
                                  <m:r>
                                    <a:rPr lang="en-US" sz="1467" b="1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𝑸𝑨</m:t>
                                  </m:r>
                                </m:e>
                                <m:sub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𝒏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467" b="1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𝑸𝑨</m:t>
                              </m:r>
                            </m:e>
                            <m:sub>
                              <m: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𝟏</m:t>
                              </m:r>
                            </m:sub>
                          </m:sSub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𝒎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𝑪</m:t>
                          </m:r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𝒑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p>
                      </m:sSup>
                    </m:oMath>
                  </m:oMathPara>
                </a14:m>
                <a:endParaRPr lang="en-US" sz="1467" b="1" i="1" dirty="0">
                  <a:solidFill>
                    <a:srgbClr val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>
                  <a:lnSpc>
                    <a:spcPct val="115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d>
                        <m:d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a:rPr lang="en-US" sz="1467" b="1" i="1"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𝒗</m:t>
                          </m:r>
                        </m:e>
                      </m:d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b>
                        <m:sSubPr>
                          <m:ctrlP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1467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𝒌</m:t>
                          </m:r>
                        </m:e>
                        <m:sub>
                          <m:r>
                            <a:rPr lang="en-US" sz="1467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𝟏</m:t>
                          </m:r>
                        </m:sub>
                      </m:sSub>
                      <m:d>
                        <m:dPr>
                          <m:ctrlP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467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𝑻</m:t>
                          </m:r>
                        </m:e>
                      </m:d>
                      <m:r>
                        <a:rPr lang="en-US" sz="1467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 </m:t>
                      </m:r>
                      <m:r>
                        <a:rPr lang="en-US" sz="1467" b="1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 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𝟏</m:t>
                                  </m:r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−</m:t>
                                  </m:r>
                                  <m:r>
                                    <a:rPr lang="en-US" sz="1467" b="1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𝑸𝑨</m:t>
                                  </m:r>
                                </m:e>
                                <m:sub>
                                  <m:r>
                                    <a:rPr lang="en-US" sz="1467" b="1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𝟐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𝒏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467" b="1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𝑸𝑨</m:t>
                              </m:r>
                            </m:e>
                            <m:sub>
                              <m:r>
                                <a:rPr lang="en-US" sz="1467" b="1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𝟐</m:t>
                              </m:r>
                            </m:sub>
                          </m:sSub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𝒎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×</m:t>
                      </m:r>
                      <m:sSup>
                        <m:sSupPr>
                          <m:ctrlP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𝑪</m:t>
                          </m:r>
                        </m:e>
                        <m:sup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𝒑</m:t>
                          </m:r>
                          <m:r>
                            <a:rPr lang="en-US" sz="1467" b="1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sz="1467" b="1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sz="1467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48" name="ZoneTexte 12">
                <a:extLst>
                  <a:ext uri="{FF2B5EF4-FFF2-40B4-BE49-F238E27FC236}">
                    <a16:creationId xmlns:a16="http://schemas.microsoft.com/office/drawing/2014/main" id="{82EAAEF7-8567-C311-EDEB-B1BC94E21A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2454" y="4347224"/>
                <a:ext cx="4554326" cy="100373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TextBox 48">
            <a:extLst>
              <a:ext uri="{FF2B5EF4-FFF2-40B4-BE49-F238E27FC236}">
                <a16:creationId xmlns:a16="http://schemas.microsoft.com/office/drawing/2014/main" id="{0E7567F3-5C4D-97DD-65D8-FBE40B0392B6}"/>
              </a:ext>
            </a:extLst>
          </p:cNvPr>
          <p:cNvSpPr txBox="1"/>
          <p:nvPr/>
        </p:nvSpPr>
        <p:spPr>
          <a:xfrm>
            <a:off x="8580008" y="5476799"/>
            <a:ext cx="2763834" cy="65659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en-US" dirty="0"/>
              <a:t>N-order two step model </a:t>
            </a:r>
          </a:p>
          <a:p>
            <a:pPr algn="ctr">
              <a:spcBef>
                <a:spcPts val="800"/>
              </a:spcBef>
            </a:pPr>
            <a:r>
              <a:rPr lang="en-US" dirty="0"/>
              <a:t>(Šesták–Berggren equation) </a:t>
            </a:r>
            <a:endParaRPr lang="sl-SI" dirty="0" err="1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33BDE63-D6EB-1E3C-D7AF-BB67F3E59F64}"/>
              </a:ext>
            </a:extLst>
          </p:cNvPr>
          <p:cNvGrpSpPr/>
          <p:nvPr/>
        </p:nvGrpSpPr>
        <p:grpSpPr>
          <a:xfrm>
            <a:off x="8145019" y="1822637"/>
            <a:ext cx="2334320" cy="2064192"/>
            <a:chOff x="979076" y="2209700"/>
            <a:chExt cx="4816083" cy="3320253"/>
          </a:xfrm>
        </p:grpSpPr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71EA44AA-1A93-4114-E560-0E213607B0EE}"/>
                </a:ext>
              </a:extLst>
            </p:cNvPr>
            <p:cNvCxnSpPr>
              <a:cxnSpLocks/>
            </p:cNvCxnSpPr>
            <p:nvPr/>
          </p:nvCxnSpPr>
          <p:spPr>
            <a:xfrm>
              <a:off x="1737756" y="4750129"/>
              <a:ext cx="4057403" cy="0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F11EA3F3-3132-DB7D-C511-FCC91163DB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8141" y="2209700"/>
              <a:ext cx="0" cy="2553194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w="lg" len="lg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9ECD1ADA-C253-4A40-4242-DF305BB89417}"/>
                </a:ext>
              </a:extLst>
            </p:cNvPr>
            <p:cNvSpPr txBox="1"/>
            <p:nvPr/>
          </p:nvSpPr>
          <p:spPr>
            <a:xfrm>
              <a:off x="2928573" y="5034894"/>
              <a:ext cx="1641550" cy="4950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Time</a:t>
              </a:r>
              <a:endParaRPr lang="sl-SI" sz="2000" b="1" dirty="0" err="1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C370EB7-BEAF-41AB-F17D-919C49E1CA90}"/>
                </a:ext>
              </a:extLst>
            </p:cNvPr>
            <p:cNvSpPr txBox="1"/>
            <p:nvPr/>
          </p:nvSpPr>
          <p:spPr>
            <a:xfrm rot="16200000">
              <a:off x="945573" y="3519799"/>
              <a:ext cx="374784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800"/>
                </a:spcBef>
              </a:pPr>
              <a:r>
                <a:rPr lang="en-US" sz="2000" b="1" dirty="0"/>
                <a:t>QA</a:t>
              </a:r>
              <a:endParaRPr lang="sl-SI" sz="2000" b="1" dirty="0" err="1"/>
            </a:p>
          </p:txBody>
        </p:sp>
      </p:grpSp>
      <p:sp>
        <p:nvSpPr>
          <p:cNvPr id="57" name="Arc 56">
            <a:extLst>
              <a:ext uri="{FF2B5EF4-FFF2-40B4-BE49-F238E27FC236}">
                <a16:creationId xmlns:a16="http://schemas.microsoft.com/office/drawing/2014/main" id="{E5F19746-EE07-CF1D-3911-9AE09FC646B1}"/>
              </a:ext>
            </a:extLst>
          </p:cNvPr>
          <p:cNvSpPr/>
          <p:nvPr/>
        </p:nvSpPr>
        <p:spPr>
          <a:xfrm flipH="1" flipV="1">
            <a:off x="8599567" y="960450"/>
            <a:ext cx="3021168" cy="2353047"/>
          </a:xfrm>
          <a:prstGeom prst="arc">
            <a:avLst>
              <a:gd name="adj1" fmla="val 19753349"/>
              <a:gd name="adj2" fmla="val 21191745"/>
            </a:avLst>
          </a:prstGeom>
          <a:ln w="34925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69C2E61D-3C5B-F908-C858-A4298E653DBF}"/>
              </a:ext>
            </a:extLst>
          </p:cNvPr>
          <p:cNvSpPr/>
          <p:nvPr/>
        </p:nvSpPr>
        <p:spPr>
          <a:xfrm flipH="1" flipV="1">
            <a:off x="8329822" y="972057"/>
            <a:ext cx="6023541" cy="2353047"/>
          </a:xfrm>
          <a:prstGeom prst="arc">
            <a:avLst>
              <a:gd name="adj1" fmla="val 19356003"/>
              <a:gd name="adj2" fmla="val 20660432"/>
            </a:avLst>
          </a:prstGeom>
          <a:ln w="34925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97DB77D-5C9A-874B-16E3-C2A03F3DE37B}"/>
              </a:ext>
            </a:extLst>
          </p:cNvPr>
          <p:cNvSpPr txBox="1"/>
          <p:nvPr/>
        </p:nvSpPr>
        <p:spPr>
          <a:xfrm>
            <a:off x="6598692" y="1740021"/>
            <a:ext cx="43131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US" sz="7200" dirty="0"/>
              <a:t>…</a:t>
            </a:r>
            <a:endParaRPr lang="sl-SI" sz="7200" dirty="0" err="1"/>
          </a:p>
        </p:txBody>
      </p:sp>
    </p:spTree>
    <p:extLst>
      <p:ext uri="{BB962C8B-B14F-4D97-AF65-F5344CB8AC3E}">
        <p14:creationId xmlns:p14="http://schemas.microsoft.com/office/powerpoint/2010/main" val="2799374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PPT Master ARIAL">
  <a:themeElements>
    <a:clrScheme name="Novartis 2025">
      <a:dk1>
        <a:srgbClr val="161616"/>
      </a:dk1>
      <a:lt1>
        <a:srgbClr val="FCFCFC"/>
      </a:lt1>
      <a:dk2>
        <a:srgbClr val="484848"/>
      </a:dk2>
      <a:lt2>
        <a:srgbClr val="F2F2F2"/>
      </a:lt2>
      <a:accent1>
        <a:srgbClr val="FF4E00"/>
      </a:accent1>
      <a:accent2>
        <a:srgbClr val="161616"/>
      </a:accent2>
      <a:accent3>
        <a:srgbClr val="484848"/>
      </a:accent3>
      <a:accent4>
        <a:srgbClr val="7A7A7A"/>
      </a:accent4>
      <a:accent5>
        <a:srgbClr val="ACACAC"/>
      </a:accent5>
      <a:accent6>
        <a:srgbClr val="DADADA"/>
      </a:accent6>
      <a:hlink>
        <a:srgbClr val="161616"/>
      </a:hlink>
      <a:folHlink>
        <a:srgbClr val="7A7A7A"/>
      </a:folHlink>
    </a:clrScheme>
    <a:fontScheme name="Volta">
      <a:majorFont>
        <a:latin typeface="Volta Modern Display 65 Med"/>
        <a:ea typeface=""/>
        <a:cs typeface=""/>
      </a:majorFont>
      <a:minorFont>
        <a:latin typeface="Volta Modern Display 55 Ro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108000" rIns="108000" bIns="108000" rtlCol="0" anchor="t"/>
      <a:lstStyle>
        <a:defPPr marL="180000" indent="-180000" algn="l">
          <a:spcBef>
            <a:spcPts val="800"/>
          </a:spcBef>
          <a:buFont typeface="Arial" panose="020B0604020202020204" pitchFamily="34" charset="0"/>
          <a:buChar char="•"/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800"/>
          </a:spcBef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>
      <a:srgbClr val="FB692E"/>
    </a:custClr>
    <a:custClr>
      <a:srgbClr val="C9D9F9"/>
    </a:custClr>
  </a:custClrLst>
  <a:extLst>
    <a:ext uri="{05A4C25C-085E-4340-85A3-A5531E510DB2}">
      <thm15:themeFamily xmlns:thm15="http://schemas.microsoft.com/office/thememl/2012/main" name="Novartis_PowerPoint_Template_v1.4.0_Volta" id="{4CC26C37-783C-5B43-AE28-E9A48879721B}" vid="{5AAA66C1-F156-1848-8239-19B18C17154F}"/>
    </a:ext>
  </a:extLst>
</a:theme>
</file>

<file path=ppt/theme/theme2.xml><?xml version="1.0" encoding="utf-8"?>
<a:theme xmlns:a="http://schemas.openxmlformats.org/drawingml/2006/main" name="Office Theme">
  <a:themeElements>
    <a:clrScheme name="Novartis 2025">
      <a:dk1>
        <a:srgbClr val="161616"/>
      </a:dk1>
      <a:lt1>
        <a:srgbClr val="FCFCFC"/>
      </a:lt1>
      <a:dk2>
        <a:srgbClr val="484848"/>
      </a:dk2>
      <a:lt2>
        <a:srgbClr val="F2F2F2"/>
      </a:lt2>
      <a:accent1>
        <a:srgbClr val="FF4E00"/>
      </a:accent1>
      <a:accent2>
        <a:srgbClr val="161616"/>
      </a:accent2>
      <a:accent3>
        <a:srgbClr val="484848"/>
      </a:accent3>
      <a:accent4>
        <a:srgbClr val="7A7A7A"/>
      </a:accent4>
      <a:accent5>
        <a:srgbClr val="ACACAC"/>
      </a:accent5>
      <a:accent6>
        <a:srgbClr val="DADADA"/>
      </a:accent6>
      <a:hlink>
        <a:srgbClr val="161616"/>
      </a:hlink>
      <a:folHlink>
        <a:srgbClr val="7A7A7A"/>
      </a:folHlink>
    </a:clrScheme>
    <a:fontScheme name="Novartis 2025 (Volta Modern Display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Novartis 2025">
      <a:dk1>
        <a:srgbClr val="161616"/>
      </a:dk1>
      <a:lt1>
        <a:srgbClr val="FCFCFC"/>
      </a:lt1>
      <a:dk2>
        <a:srgbClr val="484848"/>
      </a:dk2>
      <a:lt2>
        <a:srgbClr val="F2F2F2"/>
      </a:lt2>
      <a:accent1>
        <a:srgbClr val="FF4E00"/>
      </a:accent1>
      <a:accent2>
        <a:srgbClr val="161616"/>
      </a:accent2>
      <a:accent3>
        <a:srgbClr val="484848"/>
      </a:accent3>
      <a:accent4>
        <a:srgbClr val="7A7A7A"/>
      </a:accent4>
      <a:accent5>
        <a:srgbClr val="ACACAC"/>
      </a:accent5>
      <a:accent6>
        <a:srgbClr val="DADADA"/>
      </a:accent6>
      <a:hlink>
        <a:srgbClr val="161616"/>
      </a:hlink>
      <a:folHlink>
        <a:srgbClr val="7A7A7A"/>
      </a:folHlink>
    </a:clrScheme>
    <a:fontScheme name="Novartis 2025 (Volta Modern Display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14110D03D4DB4191AB445110F291F5" ma:contentTypeVersion="18" ma:contentTypeDescription="Create a new document." ma:contentTypeScope="" ma:versionID="eff2723948065005621f6cf39f191f00">
  <xsd:schema xmlns:xsd="http://www.w3.org/2001/XMLSchema" xmlns:xs="http://www.w3.org/2001/XMLSchema" xmlns:p="http://schemas.microsoft.com/office/2006/metadata/properties" xmlns:ns2="f44d0452-f4d5-4b16-bb5a-8b592a8ad508" xmlns:ns3="0843406f-2074-4a57-bf72-f4794b36dd10" targetNamespace="http://schemas.microsoft.com/office/2006/metadata/properties" ma:root="true" ma:fieldsID="286369b06d8226aee5f23e190de8d16b" ns2:_="" ns3:_="">
    <xsd:import namespace="f44d0452-f4d5-4b16-bb5a-8b592a8ad508"/>
    <xsd:import namespace="0843406f-2074-4a57-bf72-f4794b36dd1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4d0452-f4d5-4b16-bb5a-8b592a8ad50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8a77e4d-37b6-4598-beac-b31ed8179056}" ma:internalName="TaxCatchAll" ma:showField="CatchAllData" ma:web="f44d0452-f4d5-4b16-bb5a-8b592a8ad5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43406f-2074-4a57-bf72-f4794b36dd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89b1e24-278b-47a7-8286-6d3c18b8049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843406f-2074-4a57-bf72-f4794b36dd10">
      <Terms xmlns="http://schemas.microsoft.com/office/infopath/2007/PartnerControls"/>
    </lcf76f155ced4ddcb4097134ff3c332f>
    <TaxCatchAll xmlns="f44d0452-f4d5-4b16-bb5a-8b592a8ad50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7AFD726-E2AE-4C76-9876-C2511A0F5F6F}"/>
</file>

<file path=customXml/itemProps2.xml><?xml version="1.0" encoding="utf-8"?>
<ds:datastoreItem xmlns:ds="http://schemas.openxmlformats.org/officeDocument/2006/customXml" ds:itemID="{815B503F-9CBD-45A1-A1B7-0167040F5B56}">
  <ds:schemaRefs>
    <ds:schemaRef ds:uri="http://schemas.microsoft.com/office/2006/documentManagement/types"/>
    <ds:schemaRef ds:uri="http://purl.org/dc/elements/1.1/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2006/metadata/properties"/>
    <ds:schemaRef ds:uri="82cccf93-0aa9-4803-b9b5-28549e472ba0"/>
    <ds:schemaRef ds:uri="http://schemas.microsoft.com/office/infopath/2007/PartnerControls"/>
    <ds:schemaRef ds:uri="303f2fc3-361d-4946-a70d-91172abc9c17"/>
  </ds:schemaRefs>
</ds:datastoreItem>
</file>

<file path=customXml/itemProps3.xml><?xml version="1.0" encoding="utf-8"?>
<ds:datastoreItem xmlns:ds="http://schemas.openxmlformats.org/officeDocument/2006/customXml" ds:itemID="{47AF6954-E829-4A38-AEF5-67B8B044C09F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c9bec58-8084-492e-8360-0e1cfe36408c}" enabled="1" method="Privileged" siteId="{f35a6974-607f-47d4-82d7-ff31d7dc53a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Novartis_PowerPoint_Template_v1.4.0_Volta</Template>
  <TotalTime>1660</TotalTime>
  <Words>1727</Words>
  <Application>Microsoft Office PowerPoint</Application>
  <PresentationFormat>Widescreen</PresentationFormat>
  <Paragraphs>380</Paragraphs>
  <Slides>2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MS Mincho</vt:lpstr>
      <vt:lpstr>Arial</vt:lpstr>
      <vt:lpstr>Calibri</vt:lpstr>
      <vt:lpstr>Cambria Math</vt:lpstr>
      <vt:lpstr>Century Gothic</vt:lpstr>
      <vt:lpstr>Times New Roman</vt:lpstr>
      <vt:lpstr>Volta Modern Display 55 Rom</vt:lpstr>
      <vt:lpstr>Volta Modern Display 65 Med</vt:lpstr>
      <vt:lpstr>Wingdings</vt:lpstr>
      <vt:lpstr>Novartis PPT Master ARIAL</vt:lpstr>
      <vt:lpstr>think-cell Slide</vt:lpstr>
      <vt:lpstr>Accelerated Stability Prediction for Biotherapeutic  CASSS VEDG</vt:lpstr>
      <vt:lpstr>Disclaimer</vt:lpstr>
      <vt:lpstr>Agenda</vt:lpstr>
      <vt:lpstr>Stability Studies of Biologics</vt:lpstr>
      <vt:lpstr>Shelf-Life Determination of Commercial Biologics</vt:lpstr>
      <vt:lpstr>ICH Q1 Stability Revision is in its Public Consultation Phase</vt:lpstr>
      <vt:lpstr>Standard approach:  Stability Extrapolation in Time Beyond Real Data </vt:lpstr>
      <vt:lpstr>Alternative approach (component 1):  Extrapolation in Temperature by Arrhenius based modeling</vt:lpstr>
      <vt:lpstr>Alternative approach (component 2):  Kinetic model of degradation profile</vt:lpstr>
      <vt:lpstr>Accelerated Predictive Stability for Biologics  </vt:lpstr>
      <vt:lpstr>Validation of Arrhenius Assumption Across All Conditions Used For Model Training</vt:lpstr>
      <vt:lpstr>Different aggregation mechanism at higher temperature</vt:lpstr>
      <vt:lpstr>Aggregation modeling (option 1): Two Steps Kinetics model</vt:lpstr>
      <vt:lpstr>Aggregation modeling (option 2): First Order Kinetics Model</vt:lpstr>
      <vt:lpstr>Aggregation modeling (option 2): First Order Kinetics Model</vt:lpstr>
      <vt:lpstr>Aggregation modeling (option 2): First Order Kinetics Model</vt:lpstr>
      <vt:lpstr>Aggregation Can Be Reliably Modeled</vt:lpstr>
      <vt:lpstr>By proper temperature range selection one can reduce model complexity</vt:lpstr>
      <vt:lpstr>PoC: Novartis examples with long term validation</vt:lpstr>
      <vt:lpstr>PoC: examples from &gt;18 biologics product</vt:lpstr>
      <vt:lpstr>Conclusions</vt:lpstr>
      <vt:lpstr>Thank you</vt:lpstr>
    </vt:vector>
  </TitlesOfParts>
  <Manager>Name Surname</Manager>
  <Company>Novartis Pharma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uzman, Drago</dc:creator>
  <dc:description>PowerPoint template optimised for Windows Office version 2016 and Office 365</dc:description>
  <cp:lastModifiedBy>Kuzman, Drago</cp:lastModifiedBy>
  <cp:revision>98</cp:revision>
  <dcterms:created xsi:type="dcterms:W3CDTF">2026-03-12T12:21:42Z</dcterms:created>
  <dcterms:modified xsi:type="dcterms:W3CDTF">2026-05-12T13:3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4110D03D4DB4191AB445110F291F5</vt:lpwstr>
  </property>
  <property fmtid="{D5CDD505-2E9C-101B-9397-08002B2CF9AE}" pid="3" name="MediaServiceImageTags">
    <vt:lpwstr/>
  </property>
</Properties>
</file>